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6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7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8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9.xml" ContentType="application/vnd.openxmlformats-officedocument.them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10.xml" ContentType="application/vnd.openxmlformats-officedocument.them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11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12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13.xml" ContentType="application/vnd.openxmlformats-officedocument.them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14.xml" ContentType="application/vnd.openxmlformats-officedocument.them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heme/theme15.xml" ContentType="application/vnd.openxmlformats-officedocument.theme+xml"/>
  <Override PartName="/ppt/theme/theme16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60" r:id="rId1"/>
    <p:sldMasterId id="2147483669" r:id="rId2"/>
    <p:sldMasterId id="2147483678" r:id="rId3"/>
    <p:sldMasterId id="2147483687" r:id="rId4"/>
    <p:sldMasterId id="2147483696" r:id="rId5"/>
    <p:sldMasterId id="2147483717" r:id="rId6"/>
    <p:sldMasterId id="2147483726" r:id="rId7"/>
    <p:sldMasterId id="2147483735" r:id="rId8"/>
    <p:sldMasterId id="2147483744" r:id="rId9"/>
    <p:sldMasterId id="2147483753" r:id="rId10"/>
    <p:sldMasterId id="2147483762" r:id="rId11"/>
    <p:sldMasterId id="2147483765" r:id="rId12"/>
    <p:sldMasterId id="2147483784" r:id="rId13"/>
    <p:sldMasterId id="2147483793" r:id="rId14"/>
  </p:sldMasterIdLst>
  <p:notesMasterIdLst>
    <p:notesMasterId r:id="rId22"/>
  </p:notesMasterIdLst>
  <p:handoutMasterIdLst>
    <p:handoutMasterId r:id="rId23"/>
  </p:handoutMasterIdLst>
  <p:sldIdLst>
    <p:sldId id="427" r:id="rId15"/>
    <p:sldId id="405" r:id="rId16"/>
    <p:sldId id="429" r:id="rId17"/>
    <p:sldId id="430" r:id="rId18"/>
    <p:sldId id="431" r:id="rId19"/>
    <p:sldId id="435" r:id="rId20"/>
    <p:sldId id="434" r:id="rId21"/>
  </p:sldIdLst>
  <p:sldSz cx="9144000" cy="6858000" type="screen4x3"/>
  <p:notesSz cx="6797675" cy="9928225"/>
  <p:custDataLst>
    <p:tags r:id="rId24"/>
  </p:custDataLst>
  <p:defaultTextStyle>
    <a:defPPr>
      <a:defRPr lang="zh-TW"/>
    </a:defPPr>
    <a:lvl1pPr marL="0" algn="l" defTabSz="9128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430" algn="l" defTabSz="9128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2860" algn="l" defTabSz="9128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69291" algn="l" defTabSz="9128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5725" algn="l" defTabSz="9128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2161" algn="l" defTabSz="9128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38594" algn="l" defTabSz="9128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5027" algn="l" defTabSz="9128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1461" algn="l" defTabSz="9128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644"/>
    <a:srgbClr val="00823B"/>
    <a:srgbClr val="FCF600"/>
    <a:srgbClr val="009999"/>
    <a:srgbClr val="4D9A81"/>
    <a:srgbClr val="72BFC5"/>
    <a:srgbClr val="3C8C93"/>
    <a:srgbClr val="88966C"/>
    <a:srgbClr val="99CCFF"/>
    <a:srgbClr val="ECC0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等深淺樣式 2 - 輔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中等深淺樣式 3 - 輔色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無樣式、表格格線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16DA210-FB5B-4158-B5E0-FEB733F419BA}" styleName="淺色樣式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淺色樣式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0A15C55-8517-42AA-B614-E9B94910E393}" styleName="中等深淺樣式 2 - 輔色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中等深淺樣式 2 - 輔色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中等深淺樣式 2 - 輔色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中等深淺樣式 2 - 輔色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25E5076-3810-47DD-B79F-674D7AD40C01}" styleName="深色樣式 1 - 輔色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967" autoAdjust="0"/>
    <p:restoredTop sz="89952" autoAdjust="0"/>
  </p:normalViewPr>
  <p:slideViewPr>
    <p:cSldViewPr>
      <p:cViewPr varScale="1">
        <p:scale>
          <a:sx n="110" d="100"/>
          <a:sy n="110" d="100"/>
        </p:scale>
        <p:origin x="1452" y="108"/>
      </p:cViewPr>
      <p:guideLst>
        <p:guide orient="horz" pos="2160"/>
        <p:guide pos="288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2574"/>
    </p:cViewPr>
  </p:sorterViewPr>
  <p:notesViewPr>
    <p:cSldViewPr>
      <p:cViewPr varScale="1">
        <p:scale>
          <a:sx n="54" d="100"/>
          <a:sy n="54" d="100"/>
        </p:scale>
        <p:origin x="2490" y="12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4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7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3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tags" Target="tags/tag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5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906EF17-0AB0-416F-AA6A-3C5C18A16AEB}" type="doc">
      <dgm:prSet loTypeId="urn:microsoft.com/office/officeart/2005/8/layout/hList1" loCatId="list" qsTypeId="urn:microsoft.com/office/officeart/2005/8/quickstyle/simple2" qsCatId="simple" csTypeId="urn:microsoft.com/office/officeart/2005/8/colors/accent0_1" csCatId="mainScheme" phldr="1"/>
      <dgm:spPr/>
      <dgm:t>
        <a:bodyPr/>
        <a:lstStyle/>
        <a:p>
          <a:endParaRPr lang="zh-TW" altLang="en-US"/>
        </a:p>
      </dgm:t>
    </dgm:pt>
    <dgm:pt modelId="{5EA6E817-98D2-4EDE-A51C-8847C2B41A76}">
      <dgm:prSet phldrT="[文字]"/>
      <dgm:spPr/>
      <dgm:t>
        <a:bodyPr/>
        <a:lstStyle/>
        <a:p>
          <a:r>
            <a:rPr lang="zh-TW" altLang="en-US" dirty="0"/>
            <a:t>優點</a:t>
          </a:r>
        </a:p>
      </dgm:t>
    </dgm:pt>
    <dgm:pt modelId="{3C6F3A8F-77D2-493E-A6E0-54C3E24C102F}" type="parTrans" cxnId="{42356D63-BA96-45C5-9470-9CA5F0720B20}">
      <dgm:prSet/>
      <dgm:spPr/>
      <dgm:t>
        <a:bodyPr/>
        <a:lstStyle/>
        <a:p>
          <a:endParaRPr lang="zh-TW" altLang="en-US"/>
        </a:p>
      </dgm:t>
    </dgm:pt>
    <dgm:pt modelId="{3D3AC991-BC42-4BF6-BC2D-2C2976A281CE}" type="sibTrans" cxnId="{42356D63-BA96-45C5-9470-9CA5F0720B20}">
      <dgm:prSet/>
      <dgm:spPr/>
      <dgm:t>
        <a:bodyPr/>
        <a:lstStyle/>
        <a:p>
          <a:endParaRPr lang="zh-TW" altLang="en-US"/>
        </a:p>
      </dgm:t>
    </dgm:pt>
    <dgm:pt modelId="{26491092-66E4-43FF-8904-952C531D403E}">
      <dgm:prSet phldrT="[文字]"/>
      <dgm:spPr/>
      <dgm:t>
        <a:bodyPr/>
        <a:lstStyle/>
        <a:p>
          <a:r>
            <a:rPr lang="zh-TW" altLang="en-US" dirty="0"/>
            <a:t>善於傾聽</a:t>
          </a:r>
        </a:p>
      </dgm:t>
    </dgm:pt>
    <dgm:pt modelId="{115A5BC7-DF46-4799-A9A2-106218B73034}" type="parTrans" cxnId="{1D308377-9D46-4AA0-AF3E-619133F659B7}">
      <dgm:prSet/>
      <dgm:spPr/>
      <dgm:t>
        <a:bodyPr/>
        <a:lstStyle/>
        <a:p>
          <a:endParaRPr lang="zh-TW" altLang="en-US"/>
        </a:p>
      </dgm:t>
    </dgm:pt>
    <dgm:pt modelId="{DEB504EF-DA26-4362-8780-5E32409CFC5B}" type="sibTrans" cxnId="{1D308377-9D46-4AA0-AF3E-619133F659B7}">
      <dgm:prSet/>
      <dgm:spPr/>
      <dgm:t>
        <a:bodyPr/>
        <a:lstStyle/>
        <a:p>
          <a:endParaRPr lang="zh-TW" altLang="en-US"/>
        </a:p>
      </dgm:t>
    </dgm:pt>
    <dgm:pt modelId="{1E38D21E-1254-493B-B221-0DC368234637}">
      <dgm:prSet phldrT="[文字]"/>
      <dgm:spPr/>
      <dgm:t>
        <a:bodyPr/>
        <a:lstStyle/>
        <a:p>
          <a:r>
            <a:rPr lang="zh-TW" altLang="en-US" dirty="0"/>
            <a:t>隨和</a:t>
          </a:r>
        </a:p>
      </dgm:t>
    </dgm:pt>
    <dgm:pt modelId="{8681A8B1-A123-42E2-ABE6-105B21930896}" type="parTrans" cxnId="{C1DAD946-638F-4BE9-8D9B-4CE358A07A9C}">
      <dgm:prSet/>
      <dgm:spPr/>
      <dgm:t>
        <a:bodyPr/>
        <a:lstStyle/>
        <a:p>
          <a:endParaRPr lang="zh-TW" altLang="en-US"/>
        </a:p>
      </dgm:t>
    </dgm:pt>
    <dgm:pt modelId="{44DCA347-02EC-463C-B755-674736A24028}" type="sibTrans" cxnId="{C1DAD946-638F-4BE9-8D9B-4CE358A07A9C}">
      <dgm:prSet/>
      <dgm:spPr/>
      <dgm:t>
        <a:bodyPr/>
        <a:lstStyle/>
        <a:p>
          <a:endParaRPr lang="zh-TW" altLang="en-US"/>
        </a:p>
      </dgm:t>
    </dgm:pt>
    <dgm:pt modelId="{762AE665-FE3B-4267-AC62-387AB43A2346}">
      <dgm:prSet phldrT="[文字]"/>
      <dgm:spPr/>
      <dgm:t>
        <a:bodyPr/>
        <a:lstStyle/>
        <a:p>
          <a:r>
            <a:rPr lang="zh-TW" altLang="en-US" dirty="0"/>
            <a:t>缺點</a:t>
          </a:r>
        </a:p>
      </dgm:t>
    </dgm:pt>
    <dgm:pt modelId="{828D7854-60CE-487D-9D33-E34D39E0F817}" type="parTrans" cxnId="{065F8B7A-5EEB-41F8-B078-E9547566D0DE}">
      <dgm:prSet/>
      <dgm:spPr/>
      <dgm:t>
        <a:bodyPr/>
        <a:lstStyle/>
        <a:p>
          <a:endParaRPr lang="zh-TW" altLang="en-US"/>
        </a:p>
      </dgm:t>
    </dgm:pt>
    <dgm:pt modelId="{0FE35305-219C-4535-9F82-884B662AF3B8}" type="sibTrans" cxnId="{065F8B7A-5EEB-41F8-B078-E9547566D0DE}">
      <dgm:prSet/>
      <dgm:spPr/>
      <dgm:t>
        <a:bodyPr/>
        <a:lstStyle/>
        <a:p>
          <a:endParaRPr lang="zh-TW" altLang="en-US"/>
        </a:p>
      </dgm:t>
    </dgm:pt>
    <dgm:pt modelId="{0DB26415-3508-45CF-A853-FC701C3870E6}">
      <dgm:prSet phldrT="[文字]"/>
      <dgm:spPr/>
      <dgm:t>
        <a:bodyPr/>
        <a:lstStyle/>
        <a:p>
          <a:r>
            <a:rPr lang="zh-TW" altLang="en-US"/>
            <a:t>容易分心</a:t>
          </a:r>
          <a:endParaRPr lang="zh-TW" altLang="en-US" dirty="0"/>
        </a:p>
      </dgm:t>
    </dgm:pt>
    <dgm:pt modelId="{74F10364-498C-4657-B15B-D222E1CBA97D}" type="parTrans" cxnId="{9643E1DF-07D0-46A5-9022-95F00102BE24}">
      <dgm:prSet/>
      <dgm:spPr/>
      <dgm:t>
        <a:bodyPr/>
        <a:lstStyle/>
        <a:p>
          <a:endParaRPr lang="zh-TW" altLang="en-US"/>
        </a:p>
      </dgm:t>
    </dgm:pt>
    <dgm:pt modelId="{6153CE34-B877-497B-875B-FDD2D9C43CB2}" type="sibTrans" cxnId="{9643E1DF-07D0-46A5-9022-95F00102BE24}">
      <dgm:prSet/>
      <dgm:spPr/>
      <dgm:t>
        <a:bodyPr/>
        <a:lstStyle/>
        <a:p>
          <a:endParaRPr lang="zh-TW" altLang="en-US"/>
        </a:p>
      </dgm:t>
    </dgm:pt>
    <dgm:pt modelId="{7D168BA2-E1DA-407C-B227-A9D2457E4522}">
      <dgm:prSet phldrT="[文字]"/>
      <dgm:spPr/>
      <dgm:t>
        <a:bodyPr/>
        <a:lstStyle/>
        <a:p>
          <a:r>
            <a:rPr lang="zh-TW" altLang="en-US" dirty="0"/>
            <a:t>不夠謹慎</a:t>
          </a:r>
        </a:p>
      </dgm:t>
    </dgm:pt>
    <dgm:pt modelId="{9A0E18F4-98E7-498B-9350-B17796865760}" type="parTrans" cxnId="{E8BE42A5-2F61-4289-9C5F-CF009C8F8879}">
      <dgm:prSet/>
      <dgm:spPr/>
      <dgm:t>
        <a:bodyPr/>
        <a:lstStyle/>
        <a:p>
          <a:endParaRPr lang="zh-TW" altLang="en-US"/>
        </a:p>
      </dgm:t>
    </dgm:pt>
    <dgm:pt modelId="{6E028311-F159-447C-B41B-AFB4A88F0CED}" type="sibTrans" cxnId="{E8BE42A5-2F61-4289-9C5F-CF009C8F8879}">
      <dgm:prSet/>
      <dgm:spPr/>
      <dgm:t>
        <a:bodyPr/>
        <a:lstStyle/>
        <a:p>
          <a:endParaRPr lang="zh-TW" altLang="en-US"/>
        </a:p>
      </dgm:t>
    </dgm:pt>
    <dgm:pt modelId="{F2699C5D-14D2-482F-BFB6-74E84C446F34}" type="pres">
      <dgm:prSet presAssocID="{0906EF17-0AB0-416F-AA6A-3C5C18A16AEB}" presName="Name0" presStyleCnt="0">
        <dgm:presLayoutVars>
          <dgm:dir/>
          <dgm:animLvl val="lvl"/>
          <dgm:resizeHandles val="exact"/>
        </dgm:presLayoutVars>
      </dgm:prSet>
      <dgm:spPr/>
    </dgm:pt>
    <dgm:pt modelId="{C46FE6E4-8989-4BB0-A9C0-19816706E4E7}" type="pres">
      <dgm:prSet presAssocID="{5EA6E817-98D2-4EDE-A51C-8847C2B41A76}" presName="composite" presStyleCnt="0"/>
      <dgm:spPr/>
    </dgm:pt>
    <dgm:pt modelId="{800403F9-7EAB-471D-8CCB-F37D5D92EBD5}" type="pres">
      <dgm:prSet presAssocID="{5EA6E817-98D2-4EDE-A51C-8847C2B41A76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</dgm:pt>
    <dgm:pt modelId="{3CBFF8A9-23B1-478E-AFD7-197F97E5C501}" type="pres">
      <dgm:prSet presAssocID="{5EA6E817-98D2-4EDE-A51C-8847C2B41A76}" presName="desTx" presStyleLbl="alignAccFollowNode1" presStyleIdx="0" presStyleCnt="2">
        <dgm:presLayoutVars>
          <dgm:bulletEnabled val="1"/>
        </dgm:presLayoutVars>
      </dgm:prSet>
      <dgm:spPr/>
    </dgm:pt>
    <dgm:pt modelId="{91B6907F-6D58-48AA-A592-DBC8589FDD18}" type="pres">
      <dgm:prSet presAssocID="{3D3AC991-BC42-4BF6-BC2D-2C2976A281CE}" presName="space" presStyleCnt="0"/>
      <dgm:spPr/>
    </dgm:pt>
    <dgm:pt modelId="{A39156D6-EA55-4E58-A80A-AC51F958031D}" type="pres">
      <dgm:prSet presAssocID="{762AE665-FE3B-4267-AC62-387AB43A2346}" presName="composite" presStyleCnt="0"/>
      <dgm:spPr/>
    </dgm:pt>
    <dgm:pt modelId="{C165B3FD-7E7E-4C53-811E-983218881320}" type="pres">
      <dgm:prSet presAssocID="{762AE665-FE3B-4267-AC62-387AB43A2346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</dgm:pt>
    <dgm:pt modelId="{3E599830-E475-44E8-8194-AD0CA31325C0}" type="pres">
      <dgm:prSet presAssocID="{762AE665-FE3B-4267-AC62-387AB43A2346}" presName="desTx" presStyleLbl="alignAccFollowNode1" presStyleIdx="1" presStyleCnt="2" custLinFactNeighborX="-22" custLinFactNeighborY="-2318">
        <dgm:presLayoutVars>
          <dgm:bulletEnabled val="1"/>
        </dgm:presLayoutVars>
      </dgm:prSet>
      <dgm:spPr/>
    </dgm:pt>
  </dgm:ptLst>
  <dgm:cxnLst>
    <dgm:cxn modelId="{BFC68B24-D846-4AD7-91D6-9E09B3C83E4A}" type="presOf" srcId="{5EA6E817-98D2-4EDE-A51C-8847C2B41A76}" destId="{800403F9-7EAB-471D-8CCB-F37D5D92EBD5}" srcOrd="0" destOrd="0" presId="urn:microsoft.com/office/officeart/2005/8/layout/hList1"/>
    <dgm:cxn modelId="{97E59527-58A2-49AD-9C88-57DE7138C771}" type="presOf" srcId="{1E38D21E-1254-493B-B221-0DC368234637}" destId="{3CBFF8A9-23B1-478E-AFD7-197F97E5C501}" srcOrd="0" destOrd="1" presId="urn:microsoft.com/office/officeart/2005/8/layout/hList1"/>
    <dgm:cxn modelId="{7A25605D-2DB2-43F2-8AE1-4C4F491058E5}" type="presOf" srcId="{762AE665-FE3B-4267-AC62-387AB43A2346}" destId="{C165B3FD-7E7E-4C53-811E-983218881320}" srcOrd="0" destOrd="0" presId="urn:microsoft.com/office/officeart/2005/8/layout/hList1"/>
    <dgm:cxn modelId="{2293E75E-BF78-4222-8D4E-9EDCD081DF5D}" type="presOf" srcId="{0906EF17-0AB0-416F-AA6A-3C5C18A16AEB}" destId="{F2699C5D-14D2-482F-BFB6-74E84C446F34}" srcOrd="0" destOrd="0" presId="urn:microsoft.com/office/officeart/2005/8/layout/hList1"/>
    <dgm:cxn modelId="{42356D63-BA96-45C5-9470-9CA5F0720B20}" srcId="{0906EF17-0AB0-416F-AA6A-3C5C18A16AEB}" destId="{5EA6E817-98D2-4EDE-A51C-8847C2B41A76}" srcOrd="0" destOrd="0" parTransId="{3C6F3A8F-77D2-493E-A6E0-54C3E24C102F}" sibTransId="{3D3AC991-BC42-4BF6-BC2D-2C2976A281CE}"/>
    <dgm:cxn modelId="{C1DAD946-638F-4BE9-8D9B-4CE358A07A9C}" srcId="{5EA6E817-98D2-4EDE-A51C-8847C2B41A76}" destId="{1E38D21E-1254-493B-B221-0DC368234637}" srcOrd="1" destOrd="0" parTransId="{8681A8B1-A123-42E2-ABE6-105B21930896}" sibTransId="{44DCA347-02EC-463C-B755-674736A24028}"/>
    <dgm:cxn modelId="{1D308377-9D46-4AA0-AF3E-619133F659B7}" srcId="{5EA6E817-98D2-4EDE-A51C-8847C2B41A76}" destId="{26491092-66E4-43FF-8904-952C531D403E}" srcOrd="0" destOrd="0" parTransId="{115A5BC7-DF46-4799-A9A2-106218B73034}" sibTransId="{DEB504EF-DA26-4362-8780-5E32409CFC5B}"/>
    <dgm:cxn modelId="{065F8B7A-5EEB-41F8-B078-E9547566D0DE}" srcId="{0906EF17-0AB0-416F-AA6A-3C5C18A16AEB}" destId="{762AE665-FE3B-4267-AC62-387AB43A2346}" srcOrd="1" destOrd="0" parTransId="{828D7854-60CE-487D-9D33-E34D39E0F817}" sibTransId="{0FE35305-219C-4535-9F82-884B662AF3B8}"/>
    <dgm:cxn modelId="{ADB38E89-D966-4B35-AE51-58DA731A0305}" type="presOf" srcId="{0DB26415-3508-45CF-A853-FC701C3870E6}" destId="{3E599830-E475-44E8-8194-AD0CA31325C0}" srcOrd="0" destOrd="0" presId="urn:microsoft.com/office/officeart/2005/8/layout/hList1"/>
    <dgm:cxn modelId="{D928028B-741C-452E-ACCF-C1E394C76A91}" type="presOf" srcId="{26491092-66E4-43FF-8904-952C531D403E}" destId="{3CBFF8A9-23B1-478E-AFD7-197F97E5C501}" srcOrd="0" destOrd="0" presId="urn:microsoft.com/office/officeart/2005/8/layout/hList1"/>
    <dgm:cxn modelId="{E8BE42A5-2F61-4289-9C5F-CF009C8F8879}" srcId="{762AE665-FE3B-4267-AC62-387AB43A2346}" destId="{7D168BA2-E1DA-407C-B227-A9D2457E4522}" srcOrd="1" destOrd="0" parTransId="{9A0E18F4-98E7-498B-9350-B17796865760}" sibTransId="{6E028311-F159-447C-B41B-AFB4A88F0CED}"/>
    <dgm:cxn modelId="{4C38CDDB-ECE3-4CAB-975D-80AD863FEB9F}" type="presOf" srcId="{7D168BA2-E1DA-407C-B227-A9D2457E4522}" destId="{3E599830-E475-44E8-8194-AD0CA31325C0}" srcOrd="0" destOrd="1" presId="urn:microsoft.com/office/officeart/2005/8/layout/hList1"/>
    <dgm:cxn modelId="{9643E1DF-07D0-46A5-9022-95F00102BE24}" srcId="{762AE665-FE3B-4267-AC62-387AB43A2346}" destId="{0DB26415-3508-45CF-A853-FC701C3870E6}" srcOrd="0" destOrd="0" parTransId="{74F10364-498C-4657-B15B-D222E1CBA97D}" sibTransId="{6153CE34-B877-497B-875B-FDD2D9C43CB2}"/>
    <dgm:cxn modelId="{ED8B7E2A-D0B7-495F-BF6F-76E53889ADA8}" type="presParOf" srcId="{F2699C5D-14D2-482F-BFB6-74E84C446F34}" destId="{C46FE6E4-8989-4BB0-A9C0-19816706E4E7}" srcOrd="0" destOrd="0" presId="urn:microsoft.com/office/officeart/2005/8/layout/hList1"/>
    <dgm:cxn modelId="{EA24C521-FFCB-4373-B474-8C3051946AD3}" type="presParOf" srcId="{C46FE6E4-8989-4BB0-A9C0-19816706E4E7}" destId="{800403F9-7EAB-471D-8CCB-F37D5D92EBD5}" srcOrd="0" destOrd="0" presId="urn:microsoft.com/office/officeart/2005/8/layout/hList1"/>
    <dgm:cxn modelId="{6D096207-AA92-46F6-BD40-F37949DA25E5}" type="presParOf" srcId="{C46FE6E4-8989-4BB0-A9C0-19816706E4E7}" destId="{3CBFF8A9-23B1-478E-AFD7-197F97E5C501}" srcOrd="1" destOrd="0" presId="urn:microsoft.com/office/officeart/2005/8/layout/hList1"/>
    <dgm:cxn modelId="{1E7F9221-661A-4715-82A0-DB0A8686830F}" type="presParOf" srcId="{F2699C5D-14D2-482F-BFB6-74E84C446F34}" destId="{91B6907F-6D58-48AA-A592-DBC8589FDD18}" srcOrd="1" destOrd="0" presId="urn:microsoft.com/office/officeart/2005/8/layout/hList1"/>
    <dgm:cxn modelId="{7D968B94-BB84-43D9-A69A-1E053C5E06A5}" type="presParOf" srcId="{F2699C5D-14D2-482F-BFB6-74E84C446F34}" destId="{A39156D6-EA55-4E58-A80A-AC51F958031D}" srcOrd="2" destOrd="0" presId="urn:microsoft.com/office/officeart/2005/8/layout/hList1"/>
    <dgm:cxn modelId="{E38B5BC6-93CB-40C6-9E26-9F4CA2E58674}" type="presParOf" srcId="{A39156D6-EA55-4E58-A80A-AC51F958031D}" destId="{C165B3FD-7E7E-4C53-811E-983218881320}" srcOrd="0" destOrd="0" presId="urn:microsoft.com/office/officeart/2005/8/layout/hList1"/>
    <dgm:cxn modelId="{175B3AD3-5BF9-4F2D-8C66-E06DB9D30B0E}" type="presParOf" srcId="{A39156D6-EA55-4E58-A80A-AC51F958031D}" destId="{3E599830-E475-44E8-8194-AD0CA31325C0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ED149D0-14D4-46B4-9E59-3DD054DE462F}" type="doc">
      <dgm:prSet loTypeId="urn:microsoft.com/office/officeart/2005/8/layout/hList1" loCatId="list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zh-TW" altLang="en-US"/>
        </a:p>
      </dgm:t>
    </dgm:pt>
    <dgm:pt modelId="{3B61924A-67DF-44F2-BAAE-242D91F5421F}">
      <dgm:prSet phldrT="[文字]"/>
      <dgm:spPr/>
      <dgm:t>
        <a:bodyPr/>
        <a:lstStyle/>
        <a:p>
          <a:r>
            <a:rPr lang="zh-TW" altLang="en-US" dirty="0"/>
            <a:t>興趣</a:t>
          </a:r>
        </a:p>
      </dgm:t>
    </dgm:pt>
    <dgm:pt modelId="{0F04FB88-042E-4DB2-AC24-A4E967436E65}" type="parTrans" cxnId="{75F27CD7-FC5D-4FAA-93FF-4EA5D596AA0C}">
      <dgm:prSet/>
      <dgm:spPr/>
      <dgm:t>
        <a:bodyPr/>
        <a:lstStyle/>
        <a:p>
          <a:endParaRPr lang="zh-TW" altLang="en-US"/>
        </a:p>
      </dgm:t>
    </dgm:pt>
    <dgm:pt modelId="{5FEAE93B-1AD9-42D7-A6CE-6FBF799A5B2C}" type="sibTrans" cxnId="{75F27CD7-FC5D-4FAA-93FF-4EA5D596AA0C}">
      <dgm:prSet/>
      <dgm:spPr/>
      <dgm:t>
        <a:bodyPr/>
        <a:lstStyle/>
        <a:p>
          <a:endParaRPr lang="zh-TW" altLang="en-US"/>
        </a:p>
      </dgm:t>
    </dgm:pt>
    <dgm:pt modelId="{BE268A3E-A18B-4D9C-B2EA-DF3B47BB8A9F}">
      <dgm:prSet phldrT="[文字]"/>
      <dgm:spPr/>
      <dgm:t>
        <a:bodyPr/>
        <a:lstStyle/>
        <a:p>
          <a:r>
            <a:rPr lang="zh-TW" altLang="en-US" dirty="0"/>
            <a:t>聽獨立音樂</a:t>
          </a:r>
          <a:r>
            <a:rPr lang="en-US" altLang="zh-TW" dirty="0"/>
            <a:t>			</a:t>
          </a:r>
          <a:endParaRPr lang="zh-TW" altLang="en-US" dirty="0"/>
        </a:p>
      </dgm:t>
    </dgm:pt>
    <dgm:pt modelId="{1778A486-DEE3-4FE9-97FC-C7FCA980ED57}" type="parTrans" cxnId="{AA79AD6B-26B7-4BA4-B32C-882E7FC2E916}">
      <dgm:prSet/>
      <dgm:spPr/>
      <dgm:t>
        <a:bodyPr/>
        <a:lstStyle/>
        <a:p>
          <a:endParaRPr lang="zh-TW" altLang="en-US"/>
        </a:p>
      </dgm:t>
    </dgm:pt>
    <dgm:pt modelId="{B8413179-28DF-4B04-8A88-22FEA7992C51}" type="sibTrans" cxnId="{AA79AD6B-26B7-4BA4-B32C-882E7FC2E916}">
      <dgm:prSet/>
      <dgm:spPr/>
      <dgm:t>
        <a:bodyPr/>
        <a:lstStyle/>
        <a:p>
          <a:endParaRPr lang="zh-TW" altLang="en-US"/>
        </a:p>
      </dgm:t>
    </dgm:pt>
    <dgm:pt modelId="{6EAA3075-F8FB-48CF-973E-DB980AFE6F9B}">
      <dgm:prSet phldrT="[文字]"/>
      <dgm:spPr/>
      <dgm:t>
        <a:bodyPr/>
        <a:lstStyle/>
        <a:p>
          <a:r>
            <a:rPr lang="zh-TW" altLang="en-US" dirty="0"/>
            <a:t>看小說</a:t>
          </a:r>
        </a:p>
      </dgm:t>
    </dgm:pt>
    <dgm:pt modelId="{2EB7A816-4C4B-4A8C-A7EB-593EE26E9084}" type="parTrans" cxnId="{E44CD2CF-FCB3-4C8F-8638-17D17569AB87}">
      <dgm:prSet/>
      <dgm:spPr/>
      <dgm:t>
        <a:bodyPr/>
        <a:lstStyle/>
        <a:p>
          <a:endParaRPr lang="zh-TW" altLang="en-US"/>
        </a:p>
      </dgm:t>
    </dgm:pt>
    <dgm:pt modelId="{2FE3CA10-DFE1-47DE-A363-877FAAA9D7D8}" type="sibTrans" cxnId="{E44CD2CF-FCB3-4C8F-8638-17D17569AB87}">
      <dgm:prSet/>
      <dgm:spPr/>
      <dgm:t>
        <a:bodyPr/>
        <a:lstStyle/>
        <a:p>
          <a:endParaRPr lang="zh-TW" altLang="en-US"/>
        </a:p>
      </dgm:t>
    </dgm:pt>
    <dgm:pt modelId="{7EE8AE7F-B080-4E52-8A64-730E5CBE577E}" type="pres">
      <dgm:prSet presAssocID="{4ED149D0-14D4-46B4-9E59-3DD054DE462F}" presName="Name0" presStyleCnt="0">
        <dgm:presLayoutVars>
          <dgm:dir/>
          <dgm:animLvl val="lvl"/>
          <dgm:resizeHandles val="exact"/>
        </dgm:presLayoutVars>
      </dgm:prSet>
      <dgm:spPr/>
    </dgm:pt>
    <dgm:pt modelId="{E99555A0-B464-4C5C-A724-4095118C1D09}" type="pres">
      <dgm:prSet presAssocID="{3B61924A-67DF-44F2-BAAE-242D91F5421F}" presName="composite" presStyleCnt="0"/>
      <dgm:spPr/>
    </dgm:pt>
    <dgm:pt modelId="{4A150DD9-EE3A-4BFB-8EED-ACD962DD696E}" type="pres">
      <dgm:prSet presAssocID="{3B61924A-67DF-44F2-BAAE-242D91F5421F}" presName="parTx" presStyleLbl="alignNode1" presStyleIdx="0" presStyleCnt="1">
        <dgm:presLayoutVars>
          <dgm:chMax val="0"/>
          <dgm:chPref val="0"/>
          <dgm:bulletEnabled val="1"/>
        </dgm:presLayoutVars>
      </dgm:prSet>
      <dgm:spPr/>
    </dgm:pt>
    <dgm:pt modelId="{57029634-39EB-44A2-BE71-A1557EB5769E}" type="pres">
      <dgm:prSet presAssocID="{3B61924A-67DF-44F2-BAAE-242D91F5421F}" presName="desTx" presStyleLbl="alignAccFollowNode1" presStyleIdx="0" presStyleCnt="1">
        <dgm:presLayoutVars>
          <dgm:bulletEnabled val="1"/>
        </dgm:presLayoutVars>
      </dgm:prSet>
      <dgm:spPr/>
    </dgm:pt>
  </dgm:ptLst>
  <dgm:cxnLst>
    <dgm:cxn modelId="{3D87703A-7E69-44CC-BC05-EEBF35FBF854}" type="presOf" srcId="{4ED149D0-14D4-46B4-9E59-3DD054DE462F}" destId="{7EE8AE7F-B080-4E52-8A64-730E5CBE577E}" srcOrd="0" destOrd="0" presId="urn:microsoft.com/office/officeart/2005/8/layout/hList1"/>
    <dgm:cxn modelId="{AA79AD6B-26B7-4BA4-B32C-882E7FC2E916}" srcId="{3B61924A-67DF-44F2-BAAE-242D91F5421F}" destId="{BE268A3E-A18B-4D9C-B2EA-DF3B47BB8A9F}" srcOrd="0" destOrd="0" parTransId="{1778A486-DEE3-4FE9-97FC-C7FCA980ED57}" sibTransId="{B8413179-28DF-4B04-8A88-22FEA7992C51}"/>
    <dgm:cxn modelId="{59E41999-B06F-4CF4-B394-D6FCE977C165}" type="presOf" srcId="{3B61924A-67DF-44F2-BAAE-242D91F5421F}" destId="{4A150DD9-EE3A-4BFB-8EED-ACD962DD696E}" srcOrd="0" destOrd="0" presId="urn:microsoft.com/office/officeart/2005/8/layout/hList1"/>
    <dgm:cxn modelId="{FF6F90A5-E93E-44CD-AAAF-4EC22A65F0DD}" type="presOf" srcId="{BE268A3E-A18B-4D9C-B2EA-DF3B47BB8A9F}" destId="{57029634-39EB-44A2-BE71-A1557EB5769E}" srcOrd="0" destOrd="0" presId="urn:microsoft.com/office/officeart/2005/8/layout/hList1"/>
    <dgm:cxn modelId="{E44CD2CF-FCB3-4C8F-8638-17D17569AB87}" srcId="{3B61924A-67DF-44F2-BAAE-242D91F5421F}" destId="{6EAA3075-F8FB-48CF-973E-DB980AFE6F9B}" srcOrd="1" destOrd="0" parTransId="{2EB7A816-4C4B-4A8C-A7EB-593EE26E9084}" sibTransId="{2FE3CA10-DFE1-47DE-A363-877FAAA9D7D8}"/>
    <dgm:cxn modelId="{1F36F5D0-6977-432F-8B4C-5AB0354C3B26}" type="presOf" srcId="{6EAA3075-F8FB-48CF-973E-DB980AFE6F9B}" destId="{57029634-39EB-44A2-BE71-A1557EB5769E}" srcOrd="0" destOrd="1" presId="urn:microsoft.com/office/officeart/2005/8/layout/hList1"/>
    <dgm:cxn modelId="{75F27CD7-FC5D-4FAA-93FF-4EA5D596AA0C}" srcId="{4ED149D0-14D4-46B4-9E59-3DD054DE462F}" destId="{3B61924A-67DF-44F2-BAAE-242D91F5421F}" srcOrd="0" destOrd="0" parTransId="{0F04FB88-042E-4DB2-AC24-A4E967436E65}" sibTransId="{5FEAE93B-1AD9-42D7-A6CE-6FBF799A5B2C}"/>
    <dgm:cxn modelId="{7CDE02F3-4DE4-44BA-A526-594152E3D10C}" type="presParOf" srcId="{7EE8AE7F-B080-4E52-8A64-730E5CBE577E}" destId="{E99555A0-B464-4C5C-A724-4095118C1D09}" srcOrd="0" destOrd="0" presId="urn:microsoft.com/office/officeart/2005/8/layout/hList1"/>
    <dgm:cxn modelId="{D82F0321-278B-435E-8718-BEFE54AB3FA3}" type="presParOf" srcId="{E99555A0-B464-4C5C-A724-4095118C1D09}" destId="{4A150DD9-EE3A-4BFB-8EED-ACD962DD696E}" srcOrd="0" destOrd="0" presId="urn:microsoft.com/office/officeart/2005/8/layout/hList1"/>
    <dgm:cxn modelId="{C4E5D720-98A1-4C18-830C-B112FD0E7260}" type="presParOf" srcId="{E99555A0-B464-4C5C-A724-4095118C1D09}" destId="{57029634-39EB-44A2-BE71-A1557EB5769E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00403F9-7EAB-471D-8CCB-F37D5D92EBD5}">
      <dsp:nvSpPr>
        <dsp:cNvPr id="0" name=""/>
        <dsp:cNvSpPr/>
      </dsp:nvSpPr>
      <dsp:spPr>
        <a:xfrm>
          <a:off x="32" y="40473"/>
          <a:ext cx="3095640" cy="576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000" kern="1200" dirty="0"/>
            <a:t>優點</a:t>
          </a:r>
        </a:p>
      </dsp:txBody>
      <dsp:txXfrm>
        <a:off x="32" y="40473"/>
        <a:ext cx="3095640" cy="576000"/>
      </dsp:txXfrm>
    </dsp:sp>
    <dsp:sp modelId="{3CBFF8A9-23B1-478E-AFD7-197F97E5C501}">
      <dsp:nvSpPr>
        <dsp:cNvPr id="0" name=""/>
        <dsp:cNvSpPr/>
      </dsp:nvSpPr>
      <dsp:spPr>
        <a:xfrm>
          <a:off x="32" y="616473"/>
          <a:ext cx="3095640" cy="1152899"/>
        </a:xfrm>
        <a:prstGeom prst="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TW" altLang="en-US" sz="2000" kern="1200" dirty="0"/>
            <a:t>善於傾聽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TW" altLang="en-US" sz="2000" kern="1200" dirty="0"/>
            <a:t>隨和</a:t>
          </a:r>
        </a:p>
      </dsp:txBody>
      <dsp:txXfrm>
        <a:off x="32" y="616473"/>
        <a:ext cx="3095640" cy="1152899"/>
      </dsp:txXfrm>
    </dsp:sp>
    <dsp:sp modelId="{C165B3FD-7E7E-4C53-811E-983218881320}">
      <dsp:nvSpPr>
        <dsp:cNvPr id="0" name=""/>
        <dsp:cNvSpPr/>
      </dsp:nvSpPr>
      <dsp:spPr>
        <a:xfrm>
          <a:off x="3529062" y="40473"/>
          <a:ext cx="3095640" cy="576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000" kern="1200" dirty="0"/>
            <a:t>缺點</a:t>
          </a:r>
        </a:p>
      </dsp:txBody>
      <dsp:txXfrm>
        <a:off x="3529062" y="40473"/>
        <a:ext cx="3095640" cy="576000"/>
      </dsp:txXfrm>
    </dsp:sp>
    <dsp:sp modelId="{3E599830-E475-44E8-8194-AD0CA31325C0}">
      <dsp:nvSpPr>
        <dsp:cNvPr id="0" name=""/>
        <dsp:cNvSpPr/>
      </dsp:nvSpPr>
      <dsp:spPr>
        <a:xfrm>
          <a:off x="3528381" y="589749"/>
          <a:ext cx="3095640" cy="1152899"/>
        </a:xfrm>
        <a:prstGeom prst="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TW" altLang="en-US" sz="2000" kern="1200"/>
            <a:t>容易分心</a:t>
          </a:r>
          <a:endParaRPr lang="zh-TW" altLang="en-US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TW" altLang="en-US" sz="2000" kern="1200" dirty="0"/>
            <a:t>不夠謹慎</a:t>
          </a:r>
        </a:p>
      </dsp:txBody>
      <dsp:txXfrm>
        <a:off x="3528381" y="589749"/>
        <a:ext cx="3095640" cy="115289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A150DD9-EE3A-4BFB-8EED-ACD962DD696E}">
      <dsp:nvSpPr>
        <dsp:cNvPr id="0" name=""/>
        <dsp:cNvSpPr/>
      </dsp:nvSpPr>
      <dsp:spPr>
        <a:xfrm>
          <a:off x="0" y="35650"/>
          <a:ext cx="6552728" cy="5760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000" kern="1200" dirty="0"/>
            <a:t>興趣</a:t>
          </a:r>
        </a:p>
      </dsp:txBody>
      <dsp:txXfrm>
        <a:off x="0" y="35650"/>
        <a:ext cx="6552728" cy="576000"/>
      </dsp:txXfrm>
    </dsp:sp>
    <dsp:sp modelId="{57029634-39EB-44A2-BE71-A1557EB5769E}">
      <dsp:nvSpPr>
        <dsp:cNvPr id="0" name=""/>
        <dsp:cNvSpPr/>
      </dsp:nvSpPr>
      <dsp:spPr>
        <a:xfrm>
          <a:off x="0" y="611650"/>
          <a:ext cx="6552728" cy="1152899"/>
        </a:xfrm>
        <a:prstGeom prst="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TW" altLang="en-US" sz="2000" kern="1200" dirty="0"/>
            <a:t>聽獨立音樂</a:t>
          </a:r>
          <a:r>
            <a:rPr lang="en-US" altLang="zh-TW" sz="2000" kern="1200" dirty="0"/>
            <a:t>			</a:t>
          </a:r>
          <a:endParaRPr lang="zh-TW" altLang="en-US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TW" altLang="en-US" sz="2000" kern="1200" dirty="0"/>
            <a:t>看小說</a:t>
          </a:r>
        </a:p>
      </dsp:txBody>
      <dsp:txXfrm>
        <a:off x="0" y="611650"/>
        <a:ext cx="6552728" cy="115289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首版面配置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TW" altLang="en-US" dirty="0"/>
          </a:p>
        </p:txBody>
      </p:sp>
      <p:sp>
        <p:nvSpPr>
          <p:cNvPr id="3" name="日期版面配置區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66C1DA-93DC-4430-AF8D-F7E69CF5673A}" type="datetimeFigureOut">
              <a:rPr lang="zh-TW" altLang="en-US" smtClean="0"/>
              <a:t>2023/12/19</a:t>
            </a:fld>
            <a:endParaRPr lang="zh-TW" altLang="en-US"/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BF2041-EA72-4FA6-AE74-EC488E4267AE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9813725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首版面配置區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5659" cy="496411"/>
          </a:xfrm>
          <a:prstGeom prst="rect">
            <a:avLst/>
          </a:prstGeom>
        </p:spPr>
        <p:txBody>
          <a:bodyPr vert="horz" lIns="91426" tIns="45713" rIns="91426" bIns="45713" rtlCol="0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idx="1"/>
          </p:nvPr>
        </p:nvSpPr>
        <p:spPr>
          <a:xfrm>
            <a:off x="3850445" y="1"/>
            <a:ext cx="2945659" cy="496411"/>
          </a:xfrm>
          <a:prstGeom prst="rect">
            <a:avLst/>
          </a:prstGeom>
        </p:spPr>
        <p:txBody>
          <a:bodyPr vert="horz" lIns="91426" tIns="45713" rIns="91426" bIns="45713" rtlCol="0"/>
          <a:lstStyle>
            <a:lvl1pPr algn="r">
              <a:defRPr sz="1200"/>
            </a:lvl1pPr>
          </a:lstStyle>
          <a:p>
            <a:fld id="{9DA0625A-3FE2-48DA-B584-3367A6666071}" type="datetimeFigureOut">
              <a:rPr lang="zh-TW" altLang="en-US" smtClean="0"/>
              <a:t>2023/12/19</a:t>
            </a:fld>
            <a:endParaRPr lang="zh-TW" altLang="en-US"/>
          </a:p>
        </p:txBody>
      </p:sp>
      <p:sp>
        <p:nvSpPr>
          <p:cNvPr id="4" name="投影片圖像版面配置區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6" tIns="45713" rIns="91426" bIns="45713" rtlCol="0" anchor="ctr"/>
          <a:lstStyle/>
          <a:p>
            <a:endParaRPr lang="zh-TW" altLang="en-US"/>
          </a:p>
        </p:txBody>
      </p:sp>
      <p:sp>
        <p:nvSpPr>
          <p:cNvPr id="5" name="備忘稿版面配置區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1426" tIns="45713" rIns="91426" bIns="45713" rtlCol="0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4"/>
          </p:nvPr>
        </p:nvSpPr>
        <p:spPr>
          <a:xfrm>
            <a:off x="2" y="9430092"/>
            <a:ext cx="2945659" cy="496411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5"/>
          </p:nvPr>
        </p:nvSpPr>
        <p:spPr>
          <a:xfrm>
            <a:off x="3850445" y="9430092"/>
            <a:ext cx="2945659" cy="496411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lvl1pPr algn="r">
              <a:defRPr sz="1200"/>
            </a:lvl1pPr>
          </a:lstStyle>
          <a:p>
            <a:fld id="{57295ABE-A0F0-4F7B-8F03-85DDF3A96F23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7717513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28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430" algn="l" defTabSz="9128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2860" algn="l" defTabSz="9128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69291" algn="l" defTabSz="9128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5725" algn="l" defTabSz="9128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2161" algn="l" defTabSz="9128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8594" algn="l" defTabSz="9128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5027" algn="l" defTabSz="9128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1461" algn="l" defTabSz="9128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6.emf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4.png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58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73.xml"/><Relationship Id="rId4" Type="http://schemas.openxmlformats.org/officeDocument/2006/relationships/image" Target="../media/image6.emf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74.xml"/><Relationship Id="rId4" Type="http://schemas.openxmlformats.org/officeDocument/2006/relationships/image" Target="../media/image6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7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7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6.emf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4" Type="http://schemas.openxmlformats.org/officeDocument/2006/relationships/image" Target="../media/image6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6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4" Type="http://schemas.openxmlformats.org/officeDocument/2006/relationships/image" Target="../media/image7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7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6.emf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4.xml"/><Relationship Id="rId4" Type="http://schemas.openxmlformats.org/officeDocument/2006/relationships/image" Target="../media/image6.emf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6.xml"/><Relationship Id="rId4" Type="http://schemas.openxmlformats.org/officeDocument/2006/relationships/image" Target="../media/image7.emf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7.xml"/><Relationship Id="rId4" Type="http://schemas.openxmlformats.org/officeDocument/2006/relationships/image" Target="../media/image6.emf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1.xml"/><Relationship Id="rId4" Type="http://schemas.openxmlformats.org/officeDocument/2006/relationships/image" Target="../media/image6.emf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2.xml"/><Relationship Id="rId4" Type="http://schemas.openxmlformats.org/officeDocument/2006/relationships/image" Target="../media/image7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3.xml"/><Relationship Id="rId4" Type="http://schemas.openxmlformats.org/officeDocument/2006/relationships/image" Target="../media/image7.emf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4.xml"/><Relationship Id="rId4" Type="http://schemas.openxmlformats.org/officeDocument/2006/relationships/image" Target="../media/image6.emf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4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0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8.xml"/><Relationship Id="rId4" Type="http://schemas.openxmlformats.org/officeDocument/2006/relationships/image" Target="../media/image6.emf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9.xml"/><Relationship Id="rId4" Type="http://schemas.openxmlformats.org/officeDocument/2006/relationships/image" Target="../media/image6.emf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4.pn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3.xml"/><Relationship Id="rId4" Type="http://schemas.openxmlformats.org/officeDocument/2006/relationships/image" Target="../media/image6.emf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4.xml"/><Relationship Id="rId4" Type="http://schemas.openxmlformats.org/officeDocument/2006/relationships/image" Target="../media/image6.emf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4.pn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8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8.xml"/><Relationship Id="rId4" Type="http://schemas.openxmlformats.org/officeDocument/2006/relationships/image" Target="../media/image6.emf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9.xml"/><Relationship Id="rId4" Type="http://schemas.openxmlformats.org/officeDocument/2006/relationships/image" Target="../media/image6.emf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4.png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42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53.xml"/><Relationship Id="rId4" Type="http://schemas.openxmlformats.org/officeDocument/2006/relationships/image" Target="../media/image6.emf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54.xml"/><Relationship Id="rId4" Type="http://schemas.openxmlformats.org/officeDocument/2006/relationships/image" Target="../media/image6.emf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4.png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46.bin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6.emf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1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10.emf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oleObject" Target="../embeddings/oleObject48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4.png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50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63.xml"/><Relationship Id="rId4" Type="http://schemas.openxmlformats.org/officeDocument/2006/relationships/image" Target="../media/image6.emf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64.xml"/><Relationship Id="rId4" Type="http://schemas.openxmlformats.org/officeDocument/2006/relationships/image" Target="../media/image6.emf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4.png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54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68.xml"/><Relationship Id="rId4" Type="http://schemas.openxmlformats.org/officeDocument/2006/relationships/image" Target="../media/image6.emf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69.xml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標題投影片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8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1755708"/>
              </p:ext>
            </p:extLst>
          </p:nvPr>
        </p:nvGraphicFramePr>
        <p:xfrm>
          <a:off x="187" y="0"/>
          <a:ext cx="161985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7" y="0"/>
                        <a:ext cx="161985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>
            <a:off x="2693818" y="508626"/>
            <a:ext cx="29661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610" eaLnBrk="1" hangingPunct="1">
              <a:spcAft>
                <a:spcPct val="0"/>
              </a:spcAft>
              <a:buClrTx/>
              <a:defRPr/>
            </a:pPr>
            <a:r>
              <a:rPr lang="en-US" altLang="zh-TW" sz="900" b="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Last Modified 5/30/2014 10:13 AM China Standard Time</a:t>
            </a: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>
            <a:off x="2693799" y="668970"/>
            <a:ext cx="26406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610" eaLnBrk="1" hangingPunct="1">
              <a:spcAft>
                <a:spcPct val="0"/>
              </a:spcAft>
              <a:buClrTx/>
              <a:defRPr/>
            </a:pPr>
            <a:r>
              <a:rPr lang="en-US" altLang="zh-TW" sz="900" b="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Printed 5/22/2014 10:36 PM China Standard Time</a:t>
            </a:r>
          </a:p>
        </p:txBody>
      </p:sp>
      <p:sp>
        <p:nvSpPr>
          <p:cNvPr id="7" name="Working Draft Text" hidden="1"/>
          <p:cNvSpPr txBox="1">
            <a:spLocks noChangeArrowheads="1"/>
          </p:cNvSpPr>
          <p:nvPr/>
        </p:nvSpPr>
        <p:spPr bwMode="auto">
          <a:xfrm>
            <a:off x="2693803" y="349891"/>
            <a:ext cx="1025922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610" eaLnBrk="1" hangingPunct="1">
              <a:spcAft>
                <a:spcPct val="0"/>
              </a:spcAft>
              <a:buClrTx/>
              <a:defRPr/>
            </a:pPr>
            <a:r>
              <a:rPr lang="en-US" altLang="zh-TW" sz="90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WORKING DRAFT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5" y="19"/>
            <a:ext cx="7729879" cy="6859620"/>
            <a:chOff x="0" y="0"/>
            <a:chExt cx="4772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8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610"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4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文件類型</a:t>
              </a:r>
              <a:endParaRPr lang="en-US" altLang="zh-TW" sz="1400" b="0" dirty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610"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4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日期</a:t>
              </a:r>
              <a:endParaRPr lang="en-US" altLang="zh-TW" sz="1400" b="0" dirty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1" name="McK Disclaimer" hidden="1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>
                <a:spcAft>
                  <a:spcPct val="0"/>
                </a:spcAft>
                <a:buClrTx/>
                <a:defRPr/>
              </a:pPr>
              <a:r>
                <a:rPr lang="zh-TW" altLang="en-US" sz="8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專屬機密資料</a:t>
              </a:r>
            </a:p>
            <a:p>
              <a:pPr>
                <a:spcAft>
                  <a:spcPct val="0"/>
                </a:spcAft>
                <a:buClrTx/>
                <a:defRPr/>
              </a:pPr>
              <a:r>
                <a:rPr lang="zh-TW" altLang="en-US" sz="8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未經麥肯錫許可，任何對此資料的使用嚴格禁止</a:t>
              </a:r>
              <a:endParaRPr lang="en-US" altLang="zh-TW" sz="800" b="0" dirty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610" eaLnBrk="1" hangingPunct="1">
                <a:buClr>
                  <a:srgbClr val="000000"/>
                </a:buClr>
                <a:defRPr/>
              </a:pPr>
              <a:endParaRPr lang="en-A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610" eaLnBrk="1" hangingPunct="1">
                <a:buClr>
                  <a:srgbClr val="000000"/>
                </a:buClr>
                <a:defRPr/>
              </a:pPr>
              <a:endParaRPr lang="en-AU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pic>
        <p:nvPicPr>
          <p:cNvPr id="14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5" y="6574749"/>
            <a:ext cx="1670054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doc id"/>
          <p:cNvSpPr>
            <a:spLocks noChangeArrowheads="1"/>
          </p:cNvSpPr>
          <p:nvPr/>
        </p:nvSpPr>
        <p:spPr bwMode="auto">
          <a:xfrm>
            <a:off x="8246616" y="37256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defRPr/>
            </a:pPr>
            <a:endParaRPr lang="cs-CZ" sz="800" b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pic>
        <p:nvPicPr>
          <p:cNvPr id="16" name="Picture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3801" y="3790227"/>
            <a:ext cx="6450204" cy="3087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2967"/>
            <a:ext cx="9144000" cy="13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61107" y="3945699"/>
            <a:ext cx="5036085" cy="21982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zh-TW" altLang="en-US" noProof="0"/>
              <a:t>按一下以編輯母片副標題樣式</a:t>
            </a:r>
            <a:endParaRPr lang="en-US" altLang="zh-TW" noProof="0" dirty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61107" y="2177143"/>
            <a:ext cx="5036085" cy="507831"/>
          </a:xfr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zh-TW" altLang="en-US" noProof="0"/>
              <a:t>按一下以編輯母片標題樣式</a:t>
            </a:r>
            <a:endParaRPr lang="en-US" altLang="zh-TW" noProof="0" dirty="0"/>
          </a:p>
        </p:txBody>
      </p:sp>
    </p:spTree>
    <p:extLst>
      <p:ext uri="{BB962C8B-B14F-4D97-AF65-F5344CB8AC3E}">
        <p14:creationId xmlns:p14="http://schemas.microsoft.com/office/powerpoint/2010/main" val="29722990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物件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3302147"/>
              </p:ext>
            </p:extLst>
          </p:nvPr>
        </p:nvGraphicFramePr>
        <p:xfrm>
          <a:off x="1650" y="1654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0" y="1654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2182" y="1990668"/>
            <a:ext cx="4389768" cy="1256112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372" y="6597392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DFA42A-C2E3-43B0-B9E8-C004CEAA189A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0402047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標題投影片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8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7" y="0"/>
          <a:ext cx="161985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118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7" y="0"/>
                        <a:ext cx="161985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>
            <a:off x="2693818" y="508626"/>
            <a:ext cx="29661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Last Modified 5/30/2014 10:13 AM China Standard Time</a:t>
            </a: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>
            <a:off x="2693799" y="668970"/>
            <a:ext cx="26406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Printed 5/22/2014 10:36 PM China Standard Time</a:t>
            </a:r>
          </a:p>
        </p:txBody>
      </p:sp>
      <p:sp>
        <p:nvSpPr>
          <p:cNvPr id="7" name="Working Draft Text" hidden="1"/>
          <p:cNvSpPr txBox="1">
            <a:spLocks noChangeArrowheads="1"/>
          </p:cNvSpPr>
          <p:nvPr/>
        </p:nvSpPr>
        <p:spPr bwMode="auto">
          <a:xfrm>
            <a:off x="2693803" y="349891"/>
            <a:ext cx="1025922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WORKING DRAFT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5" y="19"/>
            <a:ext cx="7729879" cy="6859620"/>
            <a:chOff x="0" y="0"/>
            <a:chExt cx="4772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8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6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文件類型</a:t>
              </a:r>
              <a:endParaRPr kumimoji="0" lang="en-US" altLang="zh-TW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6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日期</a:t>
              </a:r>
              <a:endParaRPr kumimoji="0" lang="en-US" altLang="zh-TW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1" name="McK Disclaimer" hidden="1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03275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專屬機密資料</a:t>
              </a:r>
            </a:p>
            <a:p>
              <a:pPr marL="0" marR="0" lvl="0" indent="0" algn="l" defTabSz="803275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未經麥肯錫許可，任何對此資料的使用嚴格禁止</a:t>
              </a:r>
              <a:endParaRPr kumimoji="0" lang="en-US" altLang="zh-TW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6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5000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AU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6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5000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AU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华文楷体" pitchFamily="2" charset="-122"/>
                <a:cs typeface="Arial" charset="0"/>
              </a:endParaRPr>
            </a:p>
          </p:txBody>
        </p:sp>
      </p:grpSp>
      <p:pic>
        <p:nvPicPr>
          <p:cNvPr id="14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5" y="6574749"/>
            <a:ext cx="1670054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doc id"/>
          <p:cNvSpPr>
            <a:spLocks noChangeArrowheads="1"/>
          </p:cNvSpPr>
          <p:nvPr/>
        </p:nvSpPr>
        <p:spPr bwMode="auto">
          <a:xfrm>
            <a:off x="8246616" y="37256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r" defTabSz="8937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DFKai-SB" pitchFamily="65" charset="-120"/>
              <a:cs typeface="Arial" charset="0"/>
            </a:endParaRPr>
          </a:p>
        </p:txBody>
      </p:sp>
      <p:pic>
        <p:nvPicPr>
          <p:cNvPr id="16" name="Picture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3801" y="3790227"/>
            <a:ext cx="6450204" cy="3087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2967"/>
            <a:ext cx="9144000" cy="13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61107" y="3945699"/>
            <a:ext cx="5036085" cy="21982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zh-TW" altLang="en-US" noProof="0"/>
              <a:t>按一下以編輯母片副標題樣式</a:t>
            </a:r>
            <a:endParaRPr lang="en-US" altLang="zh-TW" noProof="0" dirty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61107" y="2177143"/>
            <a:ext cx="5036085" cy="507831"/>
          </a:xfr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zh-TW" altLang="en-US" noProof="0"/>
              <a:t>按一下以編輯母片標題樣式</a:t>
            </a:r>
            <a:endParaRPr lang="en-US" altLang="zh-TW" noProof="0" dirty="0"/>
          </a:p>
        </p:txBody>
      </p:sp>
    </p:spTree>
    <p:extLst>
      <p:ext uri="{BB962C8B-B14F-4D97-AF65-F5344CB8AC3E}">
        <p14:creationId xmlns:p14="http://schemas.microsoft.com/office/powerpoint/2010/main" val="347823737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物件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25" y="173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物件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25" y="173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2162" y="1990668"/>
            <a:ext cx="4389768" cy="1256112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DFA42A-C2E3-43B0-B9E8-C004CEAA189A}" type="slidenum">
              <a:rPr kumimoji="0" lang="zh-TW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3139011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79" y="1990667"/>
            <a:ext cx="2117131" cy="2575030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805" y="1990667"/>
            <a:ext cx="2117132" cy="2575030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ABDB6D9-26EF-48C5-A969-FFC6F5AE4DBD}" type="slidenum">
              <a:rPr kumimoji="0" lang="zh-TW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6369172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6" y="275377"/>
            <a:ext cx="8230410" cy="29832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816" y="1912353"/>
            <a:ext cx="403988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07" indent="0">
              <a:buNone/>
              <a:defRPr sz="2000" b="1"/>
            </a:lvl2pPr>
            <a:lvl3pPr marL="913101" indent="0">
              <a:buNone/>
              <a:defRPr sz="1800" b="1"/>
            </a:lvl3pPr>
            <a:lvl4pPr marL="1369663" indent="0">
              <a:buNone/>
              <a:defRPr sz="1600" b="1"/>
            </a:lvl4pPr>
            <a:lvl5pPr marL="1826223" indent="0">
              <a:buNone/>
              <a:defRPr sz="1600" b="1"/>
            </a:lvl5pPr>
            <a:lvl6pPr marL="2282784" indent="0">
              <a:buNone/>
              <a:defRPr sz="1600" b="1"/>
            </a:lvl6pPr>
            <a:lvl7pPr marL="2739343" indent="0">
              <a:buNone/>
              <a:defRPr sz="1600" b="1"/>
            </a:lvl7pPr>
            <a:lvl8pPr marL="3195902" indent="0">
              <a:buNone/>
              <a:defRPr sz="1600" b="1"/>
            </a:lvl8pPr>
            <a:lvl9pPr marL="3652457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816" y="2175318"/>
            <a:ext cx="4039882" cy="14759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05" y="1912353"/>
            <a:ext cx="404150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07" indent="0">
              <a:buNone/>
              <a:defRPr sz="2000" b="1"/>
            </a:lvl2pPr>
            <a:lvl3pPr marL="913101" indent="0">
              <a:buNone/>
              <a:defRPr sz="1800" b="1"/>
            </a:lvl3pPr>
            <a:lvl4pPr marL="1369663" indent="0">
              <a:buNone/>
              <a:defRPr sz="1600" b="1"/>
            </a:lvl4pPr>
            <a:lvl5pPr marL="1826223" indent="0">
              <a:buNone/>
              <a:defRPr sz="1600" b="1"/>
            </a:lvl5pPr>
            <a:lvl6pPr marL="2282784" indent="0">
              <a:buNone/>
              <a:defRPr sz="1600" b="1"/>
            </a:lvl6pPr>
            <a:lvl7pPr marL="2739343" indent="0">
              <a:buNone/>
              <a:defRPr sz="1600" b="1"/>
            </a:lvl7pPr>
            <a:lvl8pPr marL="3195902" indent="0">
              <a:buNone/>
              <a:defRPr sz="1600" b="1"/>
            </a:lvl8pPr>
            <a:lvl9pPr marL="3652457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05" y="2175318"/>
            <a:ext cx="4041502" cy="14759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CED650D-3B6A-4CB1-B25D-0F38C10E7C85}" type="slidenum">
              <a:rPr kumimoji="0" lang="zh-TW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2571224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9159" y="6227918"/>
            <a:ext cx="199240" cy="155496"/>
          </a:xfr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0DBBDF5-E94D-4BE3-93E6-9864C9733258}" type="slidenum">
              <a:rPr kumimoji="0" lang="zh-TW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349302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BABD007-652E-45DD-A49A-158DD1E771EE}" type="slidenum">
              <a:rPr kumimoji="0" lang="zh-TW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9657412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664BA75-9870-4AD5-9CA4-6B417ABEE087}" type="slidenum">
              <a:rPr kumimoji="0" lang="zh-TW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2344076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物件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25" y="173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物件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25" y="173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1482162" y="1990673"/>
            <a:ext cx="4389768" cy="1256112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xfrm>
            <a:off x="457200" y="6356364"/>
            <a:ext cx="2133600" cy="365125"/>
          </a:xfrm>
          <a:prstGeom prst="rect">
            <a:avLst/>
          </a:prstGeom>
        </p:spPr>
        <p:txBody>
          <a:bodyPr lIns="89564" tIns="44789" rIns="89564" bIns="44789"/>
          <a:lstStyle/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3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DFKai-SB"/>
              <a:cs typeface="+mn-cs"/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xfrm>
            <a:off x="3124201" y="6356364"/>
            <a:ext cx="2895600" cy="365125"/>
          </a:xfrm>
          <a:prstGeom prst="rect">
            <a:avLst/>
          </a:prstGeom>
        </p:spPr>
        <p:txBody>
          <a:bodyPr lIns="89564" tIns="44789" rIns="89564" bIns="44789"/>
          <a:lstStyle/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3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DFKai-SB"/>
              <a:cs typeface="+mn-cs"/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454C28F-F186-4F04-8C4F-E89FEA3EAFC9}" type="slidenum">
              <a:rPr kumimoji="0" lang="zh-TW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31054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79" y="1990679"/>
            <a:ext cx="2117131" cy="2616101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825" y="1990679"/>
            <a:ext cx="2117132" cy="2616101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372" y="6597392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BDB6D9-26EF-48C5-A969-FFC6F5AE4DBD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341893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6" y="275377"/>
            <a:ext cx="8230410" cy="29832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838" y="1915491"/>
            <a:ext cx="4039882" cy="37372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0130" indent="0">
              <a:buNone/>
              <a:defRPr sz="2100" b="1"/>
            </a:lvl2pPr>
            <a:lvl3pPr marL="920342" indent="0">
              <a:buNone/>
              <a:defRPr sz="1900" b="1"/>
            </a:lvl3pPr>
            <a:lvl4pPr marL="1380509" indent="0">
              <a:buNone/>
              <a:defRPr sz="1600" b="1"/>
            </a:lvl4pPr>
            <a:lvl5pPr marL="1840681" indent="0">
              <a:buNone/>
              <a:defRPr sz="1600" b="1"/>
            </a:lvl5pPr>
            <a:lvl6pPr marL="2300855" indent="0">
              <a:buNone/>
              <a:defRPr sz="1600" b="1"/>
            </a:lvl6pPr>
            <a:lvl7pPr marL="2761021" indent="0">
              <a:buNone/>
              <a:defRPr sz="1600" b="1"/>
            </a:lvl7pPr>
            <a:lvl8pPr marL="3221193" indent="0">
              <a:buNone/>
              <a:defRPr sz="1600" b="1"/>
            </a:lvl8pPr>
            <a:lvl9pPr marL="368136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838" y="2175319"/>
            <a:ext cx="4039882" cy="148392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25" y="1915491"/>
            <a:ext cx="4041502" cy="37372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0130" indent="0">
              <a:buNone/>
              <a:defRPr sz="2100" b="1"/>
            </a:lvl2pPr>
            <a:lvl3pPr marL="920342" indent="0">
              <a:buNone/>
              <a:defRPr sz="1900" b="1"/>
            </a:lvl3pPr>
            <a:lvl4pPr marL="1380509" indent="0">
              <a:buNone/>
              <a:defRPr sz="1600" b="1"/>
            </a:lvl4pPr>
            <a:lvl5pPr marL="1840681" indent="0">
              <a:buNone/>
              <a:defRPr sz="1600" b="1"/>
            </a:lvl5pPr>
            <a:lvl6pPr marL="2300855" indent="0">
              <a:buNone/>
              <a:defRPr sz="1600" b="1"/>
            </a:lvl6pPr>
            <a:lvl7pPr marL="2761021" indent="0">
              <a:buNone/>
              <a:defRPr sz="1600" b="1"/>
            </a:lvl7pPr>
            <a:lvl8pPr marL="3221193" indent="0">
              <a:buNone/>
              <a:defRPr sz="1600" b="1"/>
            </a:lvl8pPr>
            <a:lvl9pPr marL="3681365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25" y="2175319"/>
            <a:ext cx="4041502" cy="148392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372" y="6597392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ED650D-3B6A-4CB1-B25D-0F38C10E7C85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997502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物件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8303393"/>
              </p:ext>
            </p:extLst>
          </p:nvPr>
        </p:nvGraphicFramePr>
        <p:xfrm>
          <a:off x="1134" y="1134"/>
          <a:ext cx="1134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4" y="1134"/>
                        <a:ext cx="1134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9159" y="6227918"/>
            <a:ext cx="199240" cy="155496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DBBDF5-E94D-4BE3-93E6-9864C9733258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706007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物件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9026609"/>
              </p:ext>
            </p:extLst>
          </p:nvPr>
        </p:nvGraphicFramePr>
        <p:xfrm>
          <a:off x="1134" y="1134"/>
          <a:ext cx="1134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34" y="1134"/>
                        <a:ext cx="1134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372" y="6597392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ABD007-652E-45DD-A49A-158DD1E771EE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604529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>
          <a:xfrm>
            <a:off x="8837372" y="6597392"/>
            <a:ext cx="438779" cy="26064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656775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物件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8899855"/>
              </p:ext>
            </p:extLst>
          </p:nvPr>
        </p:nvGraphicFramePr>
        <p:xfrm>
          <a:off x="1650" y="1654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0" y="1654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1482182" y="1990673"/>
            <a:ext cx="4389768" cy="1256112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xfrm>
            <a:off x="457200" y="6356362"/>
            <a:ext cx="2133600" cy="365125"/>
          </a:xfrm>
          <a:prstGeom prst="rect">
            <a:avLst/>
          </a:prstGeom>
        </p:spPr>
        <p:txBody>
          <a:bodyPr lIns="90263" tIns="45142" rIns="90263" bIns="45142"/>
          <a:lstStyle/>
          <a:p>
            <a:pPr defTabSz="902696">
              <a:spcAft>
                <a:spcPct val="0"/>
              </a:spcAft>
            </a:pPr>
            <a:endParaRPr lang="zh-TW" altLang="en-US" sz="1400" b="1">
              <a:solidFill>
                <a:srgbClr val="000000"/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xfrm>
            <a:off x="3124201" y="6356362"/>
            <a:ext cx="2895600" cy="365125"/>
          </a:xfrm>
          <a:prstGeom prst="rect">
            <a:avLst/>
          </a:prstGeom>
        </p:spPr>
        <p:txBody>
          <a:bodyPr lIns="90263" tIns="45142" rIns="90263" bIns="45142"/>
          <a:lstStyle/>
          <a:p>
            <a:pPr defTabSz="902696">
              <a:spcAft>
                <a:spcPct val="0"/>
              </a:spcAft>
            </a:pPr>
            <a:endParaRPr lang="zh-TW" altLang="en-US" sz="1400" b="1">
              <a:solidFill>
                <a:srgbClr val="000000"/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>
            <a:off x="8837372" y="6597392"/>
            <a:ext cx="438779" cy="260648"/>
          </a:xfrm>
          <a:prstGeom prst="rect">
            <a:avLst/>
          </a:prstGeom>
        </p:spPr>
        <p:txBody>
          <a:bodyPr/>
          <a:lstStyle/>
          <a:p>
            <a:fld id="{6454C28F-F186-4F04-8C4F-E89FEA3EAFC9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1587129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標題投影片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8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386416"/>
              </p:ext>
            </p:extLst>
          </p:nvPr>
        </p:nvGraphicFramePr>
        <p:xfrm>
          <a:off x="112" y="0"/>
          <a:ext cx="161985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2" y="0"/>
                        <a:ext cx="161985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>
            <a:off x="2693818" y="508627"/>
            <a:ext cx="29661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3021" eaLnBrk="1" hangingPunct="1">
              <a:spcAft>
                <a:spcPct val="0"/>
              </a:spcAft>
              <a:buClrTx/>
              <a:defRPr/>
            </a:pPr>
            <a:r>
              <a:rPr lang="en-US" altLang="zh-TW" sz="900" b="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Last Modified 5/30/2014 10:13 AM China Standard Time</a:t>
            </a: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>
            <a:off x="2693800" y="668970"/>
            <a:ext cx="26406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3021" eaLnBrk="1" hangingPunct="1">
              <a:spcAft>
                <a:spcPct val="0"/>
              </a:spcAft>
              <a:buClrTx/>
              <a:defRPr/>
            </a:pPr>
            <a:r>
              <a:rPr lang="en-US" altLang="zh-TW" sz="900" b="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Printed 5/22/2014 10:36 PM China Standard Time</a:t>
            </a:r>
          </a:p>
        </p:txBody>
      </p:sp>
      <p:sp>
        <p:nvSpPr>
          <p:cNvPr id="7" name="Working Draft Text" hidden="1"/>
          <p:cNvSpPr txBox="1">
            <a:spLocks noChangeArrowheads="1"/>
          </p:cNvSpPr>
          <p:nvPr/>
        </p:nvSpPr>
        <p:spPr bwMode="auto">
          <a:xfrm>
            <a:off x="2693809" y="349892"/>
            <a:ext cx="1025921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3021" eaLnBrk="1" hangingPunct="1">
              <a:spcAft>
                <a:spcPct val="0"/>
              </a:spcAft>
              <a:buClrTx/>
              <a:defRPr/>
            </a:pPr>
            <a:r>
              <a:rPr lang="en-US" altLang="zh-TW" sz="90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WORKING DRAFT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5" y="20"/>
            <a:ext cx="7729879" cy="6859620"/>
            <a:chOff x="0" y="0"/>
            <a:chExt cx="4772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8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3021"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4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文件類型</a:t>
              </a:r>
              <a:endParaRPr lang="en-US" altLang="zh-TW" sz="1400" b="0" dirty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3021"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4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日期</a:t>
              </a:r>
              <a:endParaRPr lang="en-US" altLang="zh-TW" sz="1400" b="0" dirty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1" name="McK Disclaimer" hidden="1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>
                <a:spcAft>
                  <a:spcPct val="0"/>
                </a:spcAft>
                <a:buClrTx/>
                <a:defRPr/>
              </a:pPr>
              <a:r>
                <a:rPr lang="zh-TW" altLang="en-US" sz="8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專屬機密資料</a:t>
              </a:r>
            </a:p>
            <a:p>
              <a:pPr>
                <a:spcAft>
                  <a:spcPct val="0"/>
                </a:spcAft>
                <a:buClrTx/>
                <a:defRPr/>
              </a:pPr>
              <a:r>
                <a:rPr lang="zh-TW" altLang="en-US" sz="8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未經麥肯錫許可，任何對此資料的使用嚴格禁止</a:t>
              </a:r>
              <a:endParaRPr lang="en-US" altLang="zh-TW" sz="800" b="0" dirty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3021" eaLnBrk="1" hangingPunct="1">
                <a:buClr>
                  <a:srgbClr val="000000"/>
                </a:buClr>
                <a:defRPr/>
              </a:pPr>
              <a:endParaRPr lang="en-A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3021" eaLnBrk="1" hangingPunct="1">
                <a:buClr>
                  <a:srgbClr val="000000"/>
                </a:buClr>
                <a:defRPr/>
              </a:pPr>
              <a:endParaRPr lang="en-AU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pic>
        <p:nvPicPr>
          <p:cNvPr id="14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5" y="6574648"/>
            <a:ext cx="1670054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doc id"/>
          <p:cNvSpPr>
            <a:spLocks noChangeArrowheads="1"/>
          </p:cNvSpPr>
          <p:nvPr/>
        </p:nvSpPr>
        <p:spPr bwMode="auto">
          <a:xfrm>
            <a:off x="8246616" y="37258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defRPr/>
            </a:pPr>
            <a:endParaRPr lang="cs-CZ" sz="800" b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pic>
        <p:nvPicPr>
          <p:cNvPr id="16" name="Picture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3802" y="3790248"/>
            <a:ext cx="6450204" cy="3087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2967"/>
            <a:ext cx="9144000" cy="1354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61104" y="3945699"/>
            <a:ext cx="5036084" cy="21982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zh-TW" altLang="en-US" noProof="0"/>
              <a:t>按一下以編輯母片副標題樣式</a:t>
            </a:r>
            <a:endParaRPr lang="en-US" altLang="zh-TW" noProof="0" dirty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61104" y="2177061"/>
            <a:ext cx="5036084" cy="507831"/>
          </a:xfr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zh-TW" altLang="en-US" noProof="0"/>
              <a:t>按一下以編輯母片標題樣式</a:t>
            </a:r>
            <a:endParaRPr lang="en-US" altLang="zh-TW" noProof="0" dirty="0"/>
          </a:p>
        </p:txBody>
      </p:sp>
    </p:spTree>
    <p:extLst>
      <p:ext uri="{BB962C8B-B14F-4D97-AF65-F5344CB8AC3E}">
        <p14:creationId xmlns:p14="http://schemas.microsoft.com/office/powerpoint/2010/main" val="14134945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物件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203941"/>
              </p:ext>
            </p:extLst>
          </p:nvPr>
        </p:nvGraphicFramePr>
        <p:xfrm>
          <a:off x="1650" y="165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0" y="165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2182" y="1990668"/>
            <a:ext cx="4389768" cy="1256112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369" y="6597392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DFA42A-C2E3-43B0-B9E8-C004CEAA189A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122080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79" y="1990676"/>
            <a:ext cx="2117131" cy="2616101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825" y="1990676"/>
            <a:ext cx="2117132" cy="2616101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369" y="6597392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BDB6D9-26EF-48C5-A969-FFC6F5AE4DBD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36645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物件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4387177"/>
              </p:ext>
            </p:extLst>
          </p:nvPr>
        </p:nvGraphicFramePr>
        <p:xfrm>
          <a:off x="1725" y="173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25" y="173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2162" y="1990668"/>
            <a:ext cx="4389768" cy="1256112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DFA42A-C2E3-43B0-B9E8-C004CEAA189A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6066266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6" y="275377"/>
            <a:ext cx="8230410" cy="29832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838" y="1915488"/>
            <a:ext cx="4039882" cy="37372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0295" indent="0">
              <a:buNone/>
              <a:defRPr sz="2100" b="1"/>
            </a:lvl2pPr>
            <a:lvl3pPr marL="920672" indent="0">
              <a:buNone/>
              <a:defRPr sz="1900" b="1"/>
            </a:lvl3pPr>
            <a:lvl4pPr marL="1381005" indent="0">
              <a:buNone/>
              <a:defRPr sz="1600" b="1"/>
            </a:lvl4pPr>
            <a:lvl5pPr marL="1841344" indent="0">
              <a:buNone/>
              <a:defRPr sz="1600" b="1"/>
            </a:lvl5pPr>
            <a:lvl6pPr marL="2301683" indent="0">
              <a:buNone/>
              <a:defRPr sz="1600" b="1"/>
            </a:lvl6pPr>
            <a:lvl7pPr marL="2762016" indent="0">
              <a:buNone/>
              <a:defRPr sz="1600" b="1"/>
            </a:lvl7pPr>
            <a:lvl8pPr marL="3222353" indent="0">
              <a:buNone/>
              <a:defRPr sz="1600" b="1"/>
            </a:lvl8pPr>
            <a:lvl9pPr marL="3682691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838" y="2175319"/>
            <a:ext cx="4039882" cy="148392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25" y="1915488"/>
            <a:ext cx="4041502" cy="37372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0295" indent="0">
              <a:buNone/>
              <a:defRPr sz="2100" b="1"/>
            </a:lvl2pPr>
            <a:lvl3pPr marL="920672" indent="0">
              <a:buNone/>
              <a:defRPr sz="1900" b="1"/>
            </a:lvl3pPr>
            <a:lvl4pPr marL="1381005" indent="0">
              <a:buNone/>
              <a:defRPr sz="1600" b="1"/>
            </a:lvl4pPr>
            <a:lvl5pPr marL="1841344" indent="0">
              <a:buNone/>
              <a:defRPr sz="1600" b="1"/>
            </a:lvl5pPr>
            <a:lvl6pPr marL="2301683" indent="0">
              <a:buNone/>
              <a:defRPr sz="1600" b="1"/>
            </a:lvl6pPr>
            <a:lvl7pPr marL="2762016" indent="0">
              <a:buNone/>
              <a:defRPr sz="1600" b="1"/>
            </a:lvl7pPr>
            <a:lvl8pPr marL="3222353" indent="0">
              <a:buNone/>
              <a:defRPr sz="1600" b="1"/>
            </a:lvl8pPr>
            <a:lvl9pPr marL="3682691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25" y="2175319"/>
            <a:ext cx="4041502" cy="148392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369" y="6597392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ED650D-3B6A-4CB1-B25D-0F38C10E7C85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895436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物件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90545"/>
              </p:ext>
            </p:extLst>
          </p:nvPr>
        </p:nvGraphicFramePr>
        <p:xfrm>
          <a:off x="1134" y="1134"/>
          <a:ext cx="1134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4" y="1134"/>
                        <a:ext cx="1134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9159" y="6227918"/>
            <a:ext cx="199240" cy="155496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DBBDF5-E94D-4BE3-93E6-9864C9733258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925948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物件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6621481"/>
              </p:ext>
            </p:extLst>
          </p:nvPr>
        </p:nvGraphicFramePr>
        <p:xfrm>
          <a:off x="1134" y="1134"/>
          <a:ext cx="1134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34" y="1134"/>
                        <a:ext cx="1134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369" y="6597392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ABD007-652E-45DD-A49A-158DD1E771EE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6027159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>
          <a:xfrm>
            <a:off x="8837369" y="6597392"/>
            <a:ext cx="438779" cy="26064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2469739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物件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4335719"/>
              </p:ext>
            </p:extLst>
          </p:nvPr>
        </p:nvGraphicFramePr>
        <p:xfrm>
          <a:off x="1650" y="165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0" y="165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1482182" y="1990673"/>
            <a:ext cx="4389768" cy="1256112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xfrm>
            <a:off x="457200" y="6356359"/>
            <a:ext cx="2133600" cy="365125"/>
          </a:xfrm>
          <a:prstGeom prst="rect">
            <a:avLst/>
          </a:prstGeom>
        </p:spPr>
        <p:txBody>
          <a:bodyPr lIns="90296" tIns="45157" rIns="90296" bIns="45157"/>
          <a:lstStyle/>
          <a:p>
            <a:pPr defTabSz="903021">
              <a:spcAft>
                <a:spcPct val="0"/>
              </a:spcAft>
            </a:pPr>
            <a:endParaRPr lang="zh-TW" altLang="en-US" sz="1400" b="1">
              <a:solidFill>
                <a:srgbClr val="000000"/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xfrm>
            <a:off x="3124201" y="6356359"/>
            <a:ext cx="2895600" cy="365125"/>
          </a:xfrm>
          <a:prstGeom prst="rect">
            <a:avLst/>
          </a:prstGeom>
        </p:spPr>
        <p:txBody>
          <a:bodyPr lIns="90296" tIns="45157" rIns="90296" bIns="45157"/>
          <a:lstStyle/>
          <a:p>
            <a:pPr defTabSz="903021">
              <a:spcAft>
                <a:spcPct val="0"/>
              </a:spcAft>
            </a:pPr>
            <a:endParaRPr lang="zh-TW" altLang="en-US" sz="1400" b="1">
              <a:solidFill>
                <a:srgbClr val="000000"/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>
            <a:off x="8837369" y="6597392"/>
            <a:ext cx="438779" cy="260648"/>
          </a:xfrm>
          <a:prstGeom prst="rect">
            <a:avLst/>
          </a:prstGeom>
        </p:spPr>
        <p:txBody>
          <a:bodyPr/>
          <a:lstStyle/>
          <a:p>
            <a:fld id="{6454C28F-F186-4F04-8C4F-E89FEA3EAFC9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15064770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標題投影片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8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7907043"/>
              </p:ext>
            </p:extLst>
          </p:nvPr>
        </p:nvGraphicFramePr>
        <p:xfrm>
          <a:off x="112" y="0"/>
          <a:ext cx="161985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2" y="0"/>
                        <a:ext cx="161985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>
            <a:off x="2693818" y="508627"/>
            <a:ext cx="29661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3454" eaLnBrk="1" hangingPunct="1">
              <a:spcAft>
                <a:spcPct val="0"/>
              </a:spcAft>
              <a:buClrTx/>
              <a:defRPr/>
            </a:pPr>
            <a:r>
              <a:rPr lang="en-US" altLang="zh-TW" sz="900" b="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Last Modified 5/30/2014 10:13 AM China Standard Time</a:t>
            </a: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>
            <a:off x="2693800" y="668970"/>
            <a:ext cx="26406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3454" eaLnBrk="1" hangingPunct="1">
              <a:spcAft>
                <a:spcPct val="0"/>
              </a:spcAft>
              <a:buClrTx/>
              <a:defRPr/>
            </a:pPr>
            <a:r>
              <a:rPr lang="en-US" altLang="zh-TW" sz="900" b="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Printed 5/22/2014 10:36 PM China Standard Time</a:t>
            </a:r>
          </a:p>
        </p:txBody>
      </p:sp>
      <p:sp>
        <p:nvSpPr>
          <p:cNvPr id="7" name="Working Draft Text" hidden="1"/>
          <p:cNvSpPr txBox="1">
            <a:spLocks noChangeArrowheads="1"/>
          </p:cNvSpPr>
          <p:nvPr/>
        </p:nvSpPr>
        <p:spPr bwMode="auto">
          <a:xfrm>
            <a:off x="2693808" y="349892"/>
            <a:ext cx="1025921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3454" eaLnBrk="1" hangingPunct="1">
              <a:spcAft>
                <a:spcPct val="0"/>
              </a:spcAft>
              <a:buClrTx/>
              <a:defRPr/>
            </a:pPr>
            <a:r>
              <a:rPr lang="en-US" altLang="zh-TW" sz="90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WORKING DRAFT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1" y="20"/>
            <a:ext cx="7729879" cy="6859620"/>
            <a:chOff x="0" y="0"/>
            <a:chExt cx="4772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8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3454"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4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文件類型</a:t>
              </a:r>
              <a:endParaRPr lang="en-US" altLang="zh-TW" sz="1400" b="0" dirty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3454"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4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日期</a:t>
              </a:r>
              <a:endParaRPr lang="en-US" altLang="zh-TW" sz="1400" b="0" dirty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1" name="McK Disclaimer" hidden="1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>
                <a:spcAft>
                  <a:spcPct val="0"/>
                </a:spcAft>
                <a:buClrTx/>
                <a:defRPr/>
              </a:pPr>
              <a:r>
                <a:rPr lang="zh-TW" altLang="en-US" sz="8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專屬機密資料</a:t>
              </a:r>
            </a:p>
            <a:p>
              <a:pPr>
                <a:spcAft>
                  <a:spcPct val="0"/>
                </a:spcAft>
                <a:buClrTx/>
                <a:defRPr/>
              </a:pPr>
              <a:r>
                <a:rPr lang="zh-TW" altLang="en-US" sz="8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未經麥肯錫許可，任何對此資料的使用嚴格禁止</a:t>
              </a:r>
              <a:endParaRPr lang="en-US" altLang="zh-TW" sz="800" b="0" dirty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3454" eaLnBrk="1" hangingPunct="1">
                <a:buClr>
                  <a:srgbClr val="000000"/>
                </a:buClr>
                <a:defRPr/>
              </a:pPr>
              <a:endParaRPr lang="en-A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3454" eaLnBrk="1" hangingPunct="1">
                <a:buClr>
                  <a:srgbClr val="000000"/>
                </a:buClr>
                <a:defRPr/>
              </a:pPr>
              <a:endParaRPr lang="en-AU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pic>
        <p:nvPicPr>
          <p:cNvPr id="14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5" y="6574644"/>
            <a:ext cx="1670054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doc id"/>
          <p:cNvSpPr>
            <a:spLocks noChangeArrowheads="1"/>
          </p:cNvSpPr>
          <p:nvPr/>
        </p:nvSpPr>
        <p:spPr bwMode="auto">
          <a:xfrm>
            <a:off x="8246616" y="37258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defRPr/>
            </a:pPr>
            <a:endParaRPr lang="cs-CZ" sz="800" b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pic>
        <p:nvPicPr>
          <p:cNvPr id="16" name="Picture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3802" y="3790248"/>
            <a:ext cx="6450204" cy="3087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2967"/>
            <a:ext cx="9144000" cy="1354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61104" y="3945699"/>
            <a:ext cx="5036084" cy="21982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zh-TW" altLang="en-US" noProof="0"/>
              <a:t>按一下以編輯母片副標題樣式</a:t>
            </a:r>
            <a:endParaRPr lang="en-US" altLang="zh-TW" noProof="0" dirty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61104" y="2177057"/>
            <a:ext cx="5036084" cy="507831"/>
          </a:xfr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zh-TW" altLang="en-US" noProof="0"/>
              <a:t>按一下以編輯母片標題樣式</a:t>
            </a:r>
            <a:endParaRPr lang="en-US" altLang="zh-TW" noProof="0" dirty="0"/>
          </a:p>
        </p:txBody>
      </p:sp>
    </p:spTree>
    <p:extLst>
      <p:ext uri="{BB962C8B-B14F-4D97-AF65-F5344CB8AC3E}">
        <p14:creationId xmlns:p14="http://schemas.microsoft.com/office/powerpoint/2010/main" val="135433912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物件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2568110"/>
              </p:ext>
            </p:extLst>
          </p:nvPr>
        </p:nvGraphicFramePr>
        <p:xfrm>
          <a:off x="1647" y="1647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7" y="1647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2182" y="1990668"/>
            <a:ext cx="4389768" cy="1256112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365" y="6597392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DFA42A-C2E3-43B0-B9E8-C004CEAA189A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2631730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79" y="1990672"/>
            <a:ext cx="2117131" cy="2616101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825" y="1990672"/>
            <a:ext cx="2117132" cy="2616101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365" y="6597392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BDB6D9-26EF-48C5-A969-FFC6F5AE4DBD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9072898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6" y="275377"/>
            <a:ext cx="8230410" cy="29832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838" y="1915484"/>
            <a:ext cx="4039882" cy="37372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0515" indent="0">
              <a:buNone/>
              <a:defRPr sz="2100" b="1"/>
            </a:lvl2pPr>
            <a:lvl3pPr marL="921112" indent="0">
              <a:buNone/>
              <a:defRPr sz="1900" b="1"/>
            </a:lvl3pPr>
            <a:lvl4pPr marL="1381669" indent="0">
              <a:buNone/>
              <a:defRPr sz="1600" b="1"/>
            </a:lvl4pPr>
            <a:lvl5pPr marL="1842228" indent="0">
              <a:buNone/>
              <a:defRPr sz="1600" b="1"/>
            </a:lvl5pPr>
            <a:lvl6pPr marL="2302788" indent="0">
              <a:buNone/>
              <a:defRPr sz="1600" b="1"/>
            </a:lvl6pPr>
            <a:lvl7pPr marL="2763343" indent="0">
              <a:buNone/>
              <a:defRPr sz="1600" b="1"/>
            </a:lvl7pPr>
            <a:lvl8pPr marL="3223901" indent="0">
              <a:buNone/>
              <a:defRPr sz="1600" b="1"/>
            </a:lvl8pPr>
            <a:lvl9pPr marL="3684459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838" y="2175319"/>
            <a:ext cx="4039882" cy="148392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25" y="1915484"/>
            <a:ext cx="4041502" cy="37372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0515" indent="0">
              <a:buNone/>
              <a:defRPr sz="2100" b="1"/>
            </a:lvl2pPr>
            <a:lvl3pPr marL="921112" indent="0">
              <a:buNone/>
              <a:defRPr sz="1900" b="1"/>
            </a:lvl3pPr>
            <a:lvl4pPr marL="1381669" indent="0">
              <a:buNone/>
              <a:defRPr sz="1600" b="1"/>
            </a:lvl4pPr>
            <a:lvl5pPr marL="1842228" indent="0">
              <a:buNone/>
              <a:defRPr sz="1600" b="1"/>
            </a:lvl5pPr>
            <a:lvl6pPr marL="2302788" indent="0">
              <a:buNone/>
              <a:defRPr sz="1600" b="1"/>
            </a:lvl6pPr>
            <a:lvl7pPr marL="2763343" indent="0">
              <a:buNone/>
              <a:defRPr sz="1600" b="1"/>
            </a:lvl7pPr>
            <a:lvl8pPr marL="3223901" indent="0">
              <a:buNone/>
              <a:defRPr sz="1600" b="1"/>
            </a:lvl8pPr>
            <a:lvl9pPr marL="3684459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25" y="2175319"/>
            <a:ext cx="4041502" cy="148392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365" y="6597392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ED650D-3B6A-4CB1-B25D-0F38C10E7C85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2299395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物件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6470115"/>
              </p:ext>
            </p:extLst>
          </p:nvPr>
        </p:nvGraphicFramePr>
        <p:xfrm>
          <a:off x="1134" y="1134"/>
          <a:ext cx="1134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4" y="1134"/>
                        <a:ext cx="1134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9159" y="6227918"/>
            <a:ext cx="199240" cy="155496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DBBDF5-E94D-4BE3-93E6-9864C9733258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90251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79" y="1990667"/>
            <a:ext cx="2117131" cy="2575030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805" y="1990667"/>
            <a:ext cx="2117132" cy="2575030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BDB6D9-26EF-48C5-A969-FFC6F5AE4DBD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5064061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物件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418796"/>
              </p:ext>
            </p:extLst>
          </p:nvPr>
        </p:nvGraphicFramePr>
        <p:xfrm>
          <a:off x="1134" y="1134"/>
          <a:ext cx="1134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34" y="1134"/>
                        <a:ext cx="1134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365" y="6597392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ABD007-652E-45DD-A49A-158DD1E771EE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5891037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>
          <a:xfrm>
            <a:off x="8837365" y="6597392"/>
            <a:ext cx="438779" cy="26064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7263884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物件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8197994"/>
              </p:ext>
            </p:extLst>
          </p:nvPr>
        </p:nvGraphicFramePr>
        <p:xfrm>
          <a:off x="1647" y="1647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7" y="1647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1482182" y="1990673"/>
            <a:ext cx="4389768" cy="1256112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xfrm>
            <a:off x="457200" y="6356355"/>
            <a:ext cx="2133600" cy="365125"/>
          </a:xfrm>
          <a:prstGeom prst="rect">
            <a:avLst/>
          </a:prstGeom>
        </p:spPr>
        <p:txBody>
          <a:bodyPr lIns="90340" tIns="45177" rIns="90340" bIns="45177"/>
          <a:lstStyle/>
          <a:p>
            <a:pPr defTabSz="903454">
              <a:spcAft>
                <a:spcPct val="0"/>
              </a:spcAft>
            </a:pPr>
            <a:endParaRPr lang="zh-TW" altLang="en-US" sz="1400" b="1">
              <a:solidFill>
                <a:srgbClr val="000000"/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xfrm>
            <a:off x="3124201" y="6356355"/>
            <a:ext cx="2895600" cy="365125"/>
          </a:xfrm>
          <a:prstGeom prst="rect">
            <a:avLst/>
          </a:prstGeom>
        </p:spPr>
        <p:txBody>
          <a:bodyPr lIns="90340" tIns="45177" rIns="90340" bIns="45177"/>
          <a:lstStyle/>
          <a:p>
            <a:pPr defTabSz="903454">
              <a:spcAft>
                <a:spcPct val="0"/>
              </a:spcAft>
            </a:pPr>
            <a:endParaRPr lang="zh-TW" altLang="en-US" sz="1400" b="1">
              <a:solidFill>
                <a:srgbClr val="000000"/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>
            <a:off x="8837365" y="6597392"/>
            <a:ext cx="438779" cy="260648"/>
          </a:xfrm>
          <a:prstGeom prst="rect">
            <a:avLst/>
          </a:prstGeom>
        </p:spPr>
        <p:txBody>
          <a:bodyPr/>
          <a:lstStyle/>
          <a:p>
            <a:fld id="{6454C28F-F186-4F04-8C4F-E89FEA3EAFC9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12976546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標題投影片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8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0909710"/>
              </p:ext>
            </p:extLst>
          </p:nvPr>
        </p:nvGraphicFramePr>
        <p:xfrm>
          <a:off x="107" y="0"/>
          <a:ext cx="161985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" y="0"/>
                        <a:ext cx="161985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>
            <a:off x="2693818" y="508627"/>
            <a:ext cx="29661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3995" eaLnBrk="1" hangingPunct="1">
              <a:spcAft>
                <a:spcPct val="0"/>
              </a:spcAft>
              <a:buClrTx/>
              <a:defRPr/>
            </a:pPr>
            <a:r>
              <a:rPr lang="en-US" altLang="zh-TW" sz="900" b="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Last Modified 5/30/2014 10:13 AM China Standard Time</a:t>
            </a: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>
            <a:off x="2693800" y="668970"/>
            <a:ext cx="26406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3995" eaLnBrk="1" hangingPunct="1">
              <a:spcAft>
                <a:spcPct val="0"/>
              </a:spcAft>
              <a:buClrTx/>
              <a:defRPr/>
            </a:pPr>
            <a:r>
              <a:rPr lang="en-US" altLang="zh-TW" sz="900" b="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Printed 5/22/2014 10:36 PM China Standard Time</a:t>
            </a:r>
          </a:p>
        </p:txBody>
      </p:sp>
      <p:sp>
        <p:nvSpPr>
          <p:cNvPr id="7" name="Working Draft Text" hidden="1"/>
          <p:cNvSpPr txBox="1">
            <a:spLocks noChangeArrowheads="1"/>
          </p:cNvSpPr>
          <p:nvPr/>
        </p:nvSpPr>
        <p:spPr bwMode="auto">
          <a:xfrm>
            <a:off x="2693803" y="349892"/>
            <a:ext cx="1025921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3995" eaLnBrk="1" hangingPunct="1">
              <a:spcAft>
                <a:spcPct val="0"/>
              </a:spcAft>
              <a:buClrTx/>
              <a:defRPr/>
            </a:pPr>
            <a:r>
              <a:rPr lang="en-US" altLang="zh-TW" sz="90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WORKING DRAFT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6" y="20"/>
            <a:ext cx="7729879" cy="6859620"/>
            <a:chOff x="0" y="0"/>
            <a:chExt cx="4772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8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3995"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4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文件類型</a:t>
              </a:r>
              <a:endParaRPr lang="en-US" altLang="zh-TW" sz="1400" b="0" dirty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3995"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4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日期</a:t>
              </a:r>
              <a:endParaRPr lang="en-US" altLang="zh-TW" sz="1400" b="0" dirty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1" name="McK Disclaimer" hidden="1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>
                <a:spcAft>
                  <a:spcPct val="0"/>
                </a:spcAft>
                <a:buClrTx/>
                <a:defRPr/>
              </a:pPr>
              <a:r>
                <a:rPr lang="zh-TW" altLang="en-US" sz="8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專屬機密資料</a:t>
              </a:r>
            </a:p>
            <a:p>
              <a:pPr>
                <a:spcAft>
                  <a:spcPct val="0"/>
                </a:spcAft>
                <a:buClrTx/>
                <a:defRPr/>
              </a:pPr>
              <a:r>
                <a:rPr lang="zh-TW" altLang="en-US" sz="8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未經麥肯錫許可，任何對此資料的使用嚴格禁止</a:t>
              </a:r>
              <a:endParaRPr lang="en-US" altLang="zh-TW" sz="800" b="0" dirty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3995" eaLnBrk="1" hangingPunct="1">
                <a:buClr>
                  <a:srgbClr val="000000"/>
                </a:buClr>
                <a:defRPr/>
              </a:pPr>
              <a:endParaRPr lang="en-A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3995" eaLnBrk="1" hangingPunct="1">
                <a:buClr>
                  <a:srgbClr val="000000"/>
                </a:buClr>
                <a:defRPr/>
              </a:pPr>
              <a:endParaRPr lang="en-AU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pic>
        <p:nvPicPr>
          <p:cNvPr id="14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5" y="6574639"/>
            <a:ext cx="1670054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doc id"/>
          <p:cNvSpPr>
            <a:spLocks noChangeArrowheads="1"/>
          </p:cNvSpPr>
          <p:nvPr/>
        </p:nvSpPr>
        <p:spPr bwMode="auto">
          <a:xfrm>
            <a:off x="8246616" y="37258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defRPr/>
            </a:pPr>
            <a:endParaRPr lang="cs-CZ" sz="800" b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pic>
        <p:nvPicPr>
          <p:cNvPr id="16" name="Picture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3802" y="3790248"/>
            <a:ext cx="6450204" cy="3087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2967"/>
            <a:ext cx="9144000" cy="1354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61104" y="3945699"/>
            <a:ext cx="5036084" cy="21982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zh-TW" altLang="en-US" noProof="0"/>
              <a:t>按一下以編輯母片副標題樣式</a:t>
            </a:r>
            <a:endParaRPr lang="en-US" altLang="zh-TW" noProof="0" dirty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61104" y="2177052"/>
            <a:ext cx="5036084" cy="507831"/>
          </a:xfr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zh-TW" altLang="en-US" noProof="0"/>
              <a:t>按一下以編輯母片標題樣式</a:t>
            </a:r>
            <a:endParaRPr lang="en-US" altLang="zh-TW" noProof="0" dirty="0"/>
          </a:p>
        </p:txBody>
      </p:sp>
    </p:spTree>
    <p:extLst>
      <p:ext uri="{BB962C8B-B14F-4D97-AF65-F5344CB8AC3E}">
        <p14:creationId xmlns:p14="http://schemas.microsoft.com/office/powerpoint/2010/main" val="351686962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物件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264170"/>
              </p:ext>
            </p:extLst>
          </p:nvPr>
        </p:nvGraphicFramePr>
        <p:xfrm>
          <a:off x="1642" y="164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2" y="1642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2182" y="1990668"/>
            <a:ext cx="4389768" cy="1256112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360" y="6597392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DFA42A-C2E3-43B0-B9E8-C004CEAA189A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9848844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77" y="1990667"/>
            <a:ext cx="2117131" cy="2616101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825" y="1990667"/>
            <a:ext cx="2117132" cy="2616101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360" y="6597392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BDB6D9-26EF-48C5-A969-FFC6F5AE4DBD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509568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6" y="275377"/>
            <a:ext cx="8230410" cy="29832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837" y="1915479"/>
            <a:ext cx="4039882" cy="37372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0790" indent="0">
              <a:buNone/>
              <a:defRPr sz="2100" b="1"/>
            </a:lvl2pPr>
            <a:lvl3pPr marL="921662" indent="0">
              <a:buNone/>
              <a:defRPr sz="1900" b="1"/>
            </a:lvl3pPr>
            <a:lvl4pPr marL="1382499" indent="0">
              <a:buNone/>
              <a:defRPr sz="1600" b="1"/>
            </a:lvl4pPr>
            <a:lvl5pPr marL="1843333" indent="0">
              <a:buNone/>
              <a:defRPr sz="1600" b="1"/>
            </a:lvl5pPr>
            <a:lvl6pPr marL="2304171" indent="0">
              <a:buNone/>
              <a:defRPr sz="1600" b="1"/>
            </a:lvl6pPr>
            <a:lvl7pPr marL="2765002" indent="0">
              <a:buNone/>
              <a:defRPr sz="1600" b="1"/>
            </a:lvl7pPr>
            <a:lvl8pPr marL="3225836" indent="0">
              <a:buNone/>
              <a:defRPr sz="1600" b="1"/>
            </a:lvl8pPr>
            <a:lvl9pPr marL="3686671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837" y="2175318"/>
            <a:ext cx="4039882" cy="148392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25" y="1915479"/>
            <a:ext cx="4041502" cy="37372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0790" indent="0">
              <a:buNone/>
              <a:defRPr sz="2100" b="1"/>
            </a:lvl2pPr>
            <a:lvl3pPr marL="921662" indent="0">
              <a:buNone/>
              <a:defRPr sz="1900" b="1"/>
            </a:lvl3pPr>
            <a:lvl4pPr marL="1382499" indent="0">
              <a:buNone/>
              <a:defRPr sz="1600" b="1"/>
            </a:lvl4pPr>
            <a:lvl5pPr marL="1843333" indent="0">
              <a:buNone/>
              <a:defRPr sz="1600" b="1"/>
            </a:lvl5pPr>
            <a:lvl6pPr marL="2304171" indent="0">
              <a:buNone/>
              <a:defRPr sz="1600" b="1"/>
            </a:lvl6pPr>
            <a:lvl7pPr marL="2765002" indent="0">
              <a:buNone/>
              <a:defRPr sz="1600" b="1"/>
            </a:lvl7pPr>
            <a:lvl8pPr marL="3225836" indent="0">
              <a:buNone/>
              <a:defRPr sz="1600" b="1"/>
            </a:lvl8pPr>
            <a:lvl9pPr marL="3686671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25" y="2175318"/>
            <a:ext cx="4041502" cy="148392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360" y="6597392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ED650D-3B6A-4CB1-B25D-0F38C10E7C85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942958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物件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4987766"/>
              </p:ext>
            </p:extLst>
          </p:nvPr>
        </p:nvGraphicFramePr>
        <p:xfrm>
          <a:off x="1134" y="1134"/>
          <a:ext cx="1134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4" y="1134"/>
                        <a:ext cx="1134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9159" y="6227918"/>
            <a:ext cx="199240" cy="155496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DBBDF5-E94D-4BE3-93E6-9864C9733258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7956731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物件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2195198"/>
              </p:ext>
            </p:extLst>
          </p:nvPr>
        </p:nvGraphicFramePr>
        <p:xfrm>
          <a:off x="1134" y="1134"/>
          <a:ext cx="1134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34" y="1134"/>
                        <a:ext cx="1134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360" y="6597392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ABD007-652E-45DD-A49A-158DD1E771EE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5207622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>
          <a:xfrm>
            <a:off x="8837360" y="6597392"/>
            <a:ext cx="438779" cy="26064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782171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6" y="275377"/>
            <a:ext cx="8230410" cy="29832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816" y="1912353"/>
            <a:ext cx="403988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07" indent="0">
              <a:buNone/>
              <a:defRPr sz="2000" b="1"/>
            </a:lvl2pPr>
            <a:lvl3pPr marL="913101" indent="0">
              <a:buNone/>
              <a:defRPr sz="1800" b="1"/>
            </a:lvl3pPr>
            <a:lvl4pPr marL="1369663" indent="0">
              <a:buNone/>
              <a:defRPr sz="1600" b="1"/>
            </a:lvl4pPr>
            <a:lvl5pPr marL="1826223" indent="0">
              <a:buNone/>
              <a:defRPr sz="1600" b="1"/>
            </a:lvl5pPr>
            <a:lvl6pPr marL="2282784" indent="0">
              <a:buNone/>
              <a:defRPr sz="1600" b="1"/>
            </a:lvl6pPr>
            <a:lvl7pPr marL="2739343" indent="0">
              <a:buNone/>
              <a:defRPr sz="1600" b="1"/>
            </a:lvl7pPr>
            <a:lvl8pPr marL="3195902" indent="0">
              <a:buNone/>
              <a:defRPr sz="1600" b="1"/>
            </a:lvl8pPr>
            <a:lvl9pPr marL="3652457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816" y="2175318"/>
            <a:ext cx="4039882" cy="14759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05" y="1912353"/>
            <a:ext cx="404150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07" indent="0">
              <a:buNone/>
              <a:defRPr sz="2000" b="1"/>
            </a:lvl2pPr>
            <a:lvl3pPr marL="913101" indent="0">
              <a:buNone/>
              <a:defRPr sz="1800" b="1"/>
            </a:lvl3pPr>
            <a:lvl4pPr marL="1369663" indent="0">
              <a:buNone/>
              <a:defRPr sz="1600" b="1"/>
            </a:lvl4pPr>
            <a:lvl5pPr marL="1826223" indent="0">
              <a:buNone/>
              <a:defRPr sz="1600" b="1"/>
            </a:lvl5pPr>
            <a:lvl6pPr marL="2282784" indent="0">
              <a:buNone/>
              <a:defRPr sz="1600" b="1"/>
            </a:lvl6pPr>
            <a:lvl7pPr marL="2739343" indent="0">
              <a:buNone/>
              <a:defRPr sz="1600" b="1"/>
            </a:lvl7pPr>
            <a:lvl8pPr marL="3195902" indent="0">
              <a:buNone/>
              <a:defRPr sz="1600" b="1"/>
            </a:lvl8pPr>
            <a:lvl9pPr marL="3652457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05" y="2175318"/>
            <a:ext cx="4041502" cy="14759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ED650D-3B6A-4CB1-B25D-0F38C10E7C85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8870959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物件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0516642"/>
              </p:ext>
            </p:extLst>
          </p:nvPr>
        </p:nvGraphicFramePr>
        <p:xfrm>
          <a:off x="1642" y="164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2" y="1642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1482182" y="1990673"/>
            <a:ext cx="4389768" cy="1256112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90395" tIns="45202" rIns="90395" bIns="45202"/>
          <a:lstStyle/>
          <a:p>
            <a:pPr defTabSz="903995">
              <a:spcAft>
                <a:spcPct val="0"/>
              </a:spcAft>
            </a:pPr>
            <a:endParaRPr lang="zh-TW" altLang="en-US" sz="1400" b="1">
              <a:solidFill>
                <a:srgbClr val="000000"/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xfrm>
            <a:off x="3124201" y="6356350"/>
            <a:ext cx="2895600" cy="365125"/>
          </a:xfrm>
          <a:prstGeom prst="rect">
            <a:avLst/>
          </a:prstGeom>
        </p:spPr>
        <p:txBody>
          <a:bodyPr lIns="90395" tIns="45202" rIns="90395" bIns="45202"/>
          <a:lstStyle/>
          <a:p>
            <a:pPr defTabSz="903995">
              <a:spcAft>
                <a:spcPct val="0"/>
              </a:spcAft>
            </a:pPr>
            <a:endParaRPr lang="zh-TW" altLang="en-US" sz="1400" b="1">
              <a:solidFill>
                <a:srgbClr val="000000"/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>
            <a:off x="8837360" y="6597392"/>
            <a:ext cx="438779" cy="260648"/>
          </a:xfrm>
          <a:prstGeom prst="rect">
            <a:avLst/>
          </a:prstGeom>
        </p:spPr>
        <p:txBody>
          <a:bodyPr/>
          <a:lstStyle/>
          <a:p>
            <a:fld id="{6454C28F-F186-4F04-8C4F-E89FEA3EAFC9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81342954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標題投影片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8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2865232"/>
              </p:ext>
            </p:extLst>
          </p:nvPr>
        </p:nvGraphicFramePr>
        <p:xfrm>
          <a:off x="187" y="0"/>
          <a:ext cx="161985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7" y="0"/>
                        <a:ext cx="161985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>
            <a:off x="2693818" y="508626"/>
            <a:ext cx="29661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610" eaLnBrk="1" hangingPunct="1">
              <a:spcAft>
                <a:spcPct val="0"/>
              </a:spcAft>
              <a:buClrTx/>
              <a:defRPr/>
            </a:pPr>
            <a:r>
              <a:rPr lang="en-US" altLang="zh-TW" sz="900" b="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Last Modified 5/30/2014 10:13 AM China Standard Time</a:t>
            </a: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>
            <a:off x="2693799" y="668970"/>
            <a:ext cx="26406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610" eaLnBrk="1" hangingPunct="1">
              <a:spcAft>
                <a:spcPct val="0"/>
              </a:spcAft>
              <a:buClrTx/>
              <a:defRPr/>
            </a:pPr>
            <a:r>
              <a:rPr lang="en-US" altLang="zh-TW" sz="900" b="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Printed 5/22/2014 10:36 PM China Standard Time</a:t>
            </a:r>
          </a:p>
        </p:txBody>
      </p:sp>
      <p:sp>
        <p:nvSpPr>
          <p:cNvPr id="7" name="Working Draft Text" hidden="1"/>
          <p:cNvSpPr txBox="1">
            <a:spLocks noChangeArrowheads="1"/>
          </p:cNvSpPr>
          <p:nvPr/>
        </p:nvSpPr>
        <p:spPr bwMode="auto">
          <a:xfrm>
            <a:off x="2693803" y="349891"/>
            <a:ext cx="1025922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610" eaLnBrk="1" hangingPunct="1">
              <a:spcAft>
                <a:spcPct val="0"/>
              </a:spcAft>
              <a:buClrTx/>
              <a:defRPr/>
            </a:pPr>
            <a:r>
              <a:rPr lang="en-US" altLang="zh-TW" sz="90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WORKING DRAFT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5" y="19"/>
            <a:ext cx="7729879" cy="6859620"/>
            <a:chOff x="0" y="0"/>
            <a:chExt cx="4772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8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610"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4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文件類型</a:t>
              </a:r>
              <a:endParaRPr lang="en-US" altLang="zh-TW" sz="1400" b="0" dirty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610"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4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日期</a:t>
              </a:r>
              <a:endParaRPr lang="en-US" altLang="zh-TW" sz="1400" b="0" dirty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1" name="McK Disclaimer" hidden="1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>
                <a:spcAft>
                  <a:spcPct val="0"/>
                </a:spcAft>
                <a:buClrTx/>
                <a:defRPr/>
              </a:pPr>
              <a:r>
                <a:rPr lang="zh-TW" altLang="en-US" sz="8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專屬機密資料</a:t>
              </a:r>
            </a:p>
            <a:p>
              <a:pPr>
                <a:spcAft>
                  <a:spcPct val="0"/>
                </a:spcAft>
                <a:buClrTx/>
                <a:defRPr/>
              </a:pPr>
              <a:r>
                <a:rPr lang="zh-TW" altLang="en-US" sz="8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未經麥肯錫許可，任何對此資料的使用嚴格禁止</a:t>
              </a:r>
              <a:endParaRPr lang="en-US" altLang="zh-TW" sz="800" b="0" dirty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610" eaLnBrk="1" hangingPunct="1">
                <a:buClr>
                  <a:srgbClr val="000000"/>
                </a:buClr>
                <a:defRPr/>
              </a:pPr>
              <a:endParaRPr lang="en-A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610" eaLnBrk="1" hangingPunct="1">
                <a:buClr>
                  <a:srgbClr val="000000"/>
                </a:buClr>
                <a:defRPr/>
              </a:pPr>
              <a:endParaRPr lang="en-AU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pic>
        <p:nvPicPr>
          <p:cNvPr id="14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5" y="6574749"/>
            <a:ext cx="1670054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doc id"/>
          <p:cNvSpPr>
            <a:spLocks noChangeArrowheads="1"/>
          </p:cNvSpPr>
          <p:nvPr/>
        </p:nvSpPr>
        <p:spPr bwMode="auto">
          <a:xfrm>
            <a:off x="8246616" y="37256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defRPr/>
            </a:pPr>
            <a:endParaRPr lang="cs-CZ" sz="800" b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pic>
        <p:nvPicPr>
          <p:cNvPr id="16" name="Picture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3801" y="3790227"/>
            <a:ext cx="6450204" cy="3087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2967"/>
            <a:ext cx="9144000" cy="13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61107" y="3945699"/>
            <a:ext cx="5036085" cy="21982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zh-TW" altLang="en-US" noProof="0"/>
              <a:t>按一下以編輯母片副標題樣式</a:t>
            </a:r>
            <a:endParaRPr lang="en-US" altLang="zh-TW" noProof="0" dirty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61107" y="2177143"/>
            <a:ext cx="5036085" cy="507831"/>
          </a:xfr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zh-TW" altLang="en-US" noProof="0"/>
              <a:t>按一下以編輯母片標題樣式</a:t>
            </a:r>
            <a:endParaRPr lang="en-US" altLang="zh-TW" noProof="0" dirty="0"/>
          </a:p>
        </p:txBody>
      </p:sp>
    </p:spTree>
    <p:extLst>
      <p:ext uri="{BB962C8B-B14F-4D97-AF65-F5344CB8AC3E}">
        <p14:creationId xmlns:p14="http://schemas.microsoft.com/office/powerpoint/2010/main" val="247916214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物件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7297172"/>
              </p:ext>
            </p:extLst>
          </p:nvPr>
        </p:nvGraphicFramePr>
        <p:xfrm>
          <a:off x="1725" y="173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25" y="173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2162" y="1990668"/>
            <a:ext cx="4389768" cy="1256112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DFA42A-C2E3-43B0-B9E8-C004CEAA189A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0324436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79" y="1990667"/>
            <a:ext cx="2117131" cy="2575030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805" y="1990667"/>
            <a:ext cx="2117132" cy="2575030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BDB6D9-26EF-48C5-A969-FFC6F5AE4DBD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153754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6" y="275377"/>
            <a:ext cx="8230410" cy="29832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816" y="1912353"/>
            <a:ext cx="403988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07" indent="0">
              <a:buNone/>
              <a:defRPr sz="2000" b="1"/>
            </a:lvl2pPr>
            <a:lvl3pPr marL="913101" indent="0">
              <a:buNone/>
              <a:defRPr sz="1800" b="1"/>
            </a:lvl3pPr>
            <a:lvl4pPr marL="1369663" indent="0">
              <a:buNone/>
              <a:defRPr sz="1600" b="1"/>
            </a:lvl4pPr>
            <a:lvl5pPr marL="1826223" indent="0">
              <a:buNone/>
              <a:defRPr sz="1600" b="1"/>
            </a:lvl5pPr>
            <a:lvl6pPr marL="2282784" indent="0">
              <a:buNone/>
              <a:defRPr sz="1600" b="1"/>
            </a:lvl6pPr>
            <a:lvl7pPr marL="2739343" indent="0">
              <a:buNone/>
              <a:defRPr sz="1600" b="1"/>
            </a:lvl7pPr>
            <a:lvl8pPr marL="3195902" indent="0">
              <a:buNone/>
              <a:defRPr sz="1600" b="1"/>
            </a:lvl8pPr>
            <a:lvl9pPr marL="3652457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816" y="2175318"/>
            <a:ext cx="4039882" cy="14759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05" y="1912353"/>
            <a:ext cx="404150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07" indent="0">
              <a:buNone/>
              <a:defRPr sz="2000" b="1"/>
            </a:lvl2pPr>
            <a:lvl3pPr marL="913101" indent="0">
              <a:buNone/>
              <a:defRPr sz="1800" b="1"/>
            </a:lvl3pPr>
            <a:lvl4pPr marL="1369663" indent="0">
              <a:buNone/>
              <a:defRPr sz="1600" b="1"/>
            </a:lvl4pPr>
            <a:lvl5pPr marL="1826223" indent="0">
              <a:buNone/>
              <a:defRPr sz="1600" b="1"/>
            </a:lvl5pPr>
            <a:lvl6pPr marL="2282784" indent="0">
              <a:buNone/>
              <a:defRPr sz="1600" b="1"/>
            </a:lvl6pPr>
            <a:lvl7pPr marL="2739343" indent="0">
              <a:buNone/>
              <a:defRPr sz="1600" b="1"/>
            </a:lvl7pPr>
            <a:lvl8pPr marL="3195902" indent="0">
              <a:buNone/>
              <a:defRPr sz="1600" b="1"/>
            </a:lvl8pPr>
            <a:lvl9pPr marL="3652457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05" y="2175318"/>
            <a:ext cx="4041502" cy="14759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ED650D-3B6A-4CB1-B25D-0F38C10E7C85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682247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9159" y="6227918"/>
            <a:ext cx="199240" cy="155496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DBBDF5-E94D-4BE3-93E6-9864C9733258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3486581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ABD007-652E-45DD-A49A-158DD1E771EE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0552595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917472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物件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0750603"/>
              </p:ext>
            </p:extLst>
          </p:nvPr>
        </p:nvGraphicFramePr>
        <p:xfrm>
          <a:off x="1725" y="173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25" y="173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1482162" y="1990673"/>
            <a:ext cx="4389768" cy="1256112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xfrm>
            <a:off x="457200" y="6356364"/>
            <a:ext cx="2133600" cy="365125"/>
          </a:xfrm>
          <a:prstGeom prst="rect">
            <a:avLst/>
          </a:prstGeom>
        </p:spPr>
        <p:txBody>
          <a:bodyPr lIns="89564" tIns="44789" rIns="89564" bIns="44789"/>
          <a:lstStyle/>
          <a:p>
            <a:pPr defTabSz="895610">
              <a:spcAft>
                <a:spcPct val="0"/>
              </a:spcAft>
            </a:pPr>
            <a:endParaRPr lang="zh-TW" altLang="en-US" sz="1300" b="1">
              <a:solidFill>
                <a:srgbClr val="000000"/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xfrm>
            <a:off x="3124201" y="6356364"/>
            <a:ext cx="2895600" cy="365125"/>
          </a:xfrm>
          <a:prstGeom prst="rect">
            <a:avLst/>
          </a:prstGeom>
        </p:spPr>
        <p:txBody>
          <a:bodyPr lIns="89564" tIns="44789" rIns="89564" bIns="44789"/>
          <a:lstStyle/>
          <a:p>
            <a:pPr defTabSz="895610">
              <a:spcAft>
                <a:spcPct val="0"/>
              </a:spcAft>
            </a:pPr>
            <a:endParaRPr lang="zh-TW" altLang="en-US" sz="1300" b="1">
              <a:solidFill>
                <a:srgbClr val="000000"/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</p:spPr>
        <p:txBody>
          <a:bodyPr/>
          <a:lstStyle/>
          <a:p>
            <a:fld id="{6454C28F-F186-4F04-8C4F-E89FEA3EAFC9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536758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標題投影片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8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0723806"/>
              </p:ext>
            </p:extLst>
          </p:nvPr>
        </p:nvGraphicFramePr>
        <p:xfrm>
          <a:off x="187" y="0"/>
          <a:ext cx="161985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7" y="0"/>
                        <a:ext cx="161985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>
            <a:off x="2693818" y="508626"/>
            <a:ext cx="29661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610" eaLnBrk="1" hangingPunct="1">
              <a:spcAft>
                <a:spcPct val="0"/>
              </a:spcAft>
              <a:buClrTx/>
              <a:defRPr/>
            </a:pPr>
            <a:r>
              <a:rPr lang="en-US" altLang="zh-TW" sz="900" b="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Last Modified 5/30/2014 10:13 AM China Standard Time</a:t>
            </a: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>
            <a:off x="2693799" y="668970"/>
            <a:ext cx="26406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610" eaLnBrk="1" hangingPunct="1">
              <a:spcAft>
                <a:spcPct val="0"/>
              </a:spcAft>
              <a:buClrTx/>
              <a:defRPr/>
            </a:pPr>
            <a:r>
              <a:rPr lang="en-US" altLang="zh-TW" sz="900" b="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Printed 5/22/2014 10:36 PM China Standard Time</a:t>
            </a:r>
          </a:p>
        </p:txBody>
      </p:sp>
      <p:sp>
        <p:nvSpPr>
          <p:cNvPr id="7" name="Working Draft Text" hidden="1"/>
          <p:cNvSpPr txBox="1">
            <a:spLocks noChangeArrowheads="1"/>
          </p:cNvSpPr>
          <p:nvPr/>
        </p:nvSpPr>
        <p:spPr bwMode="auto">
          <a:xfrm>
            <a:off x="2693803" y="349891"/>
            <a:ext cx="1025922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610" eaLnBrk="1" hangingPunct="1">
              <a:spcAft>
                <a:spcPct val="0"/>
              </a:spcAft>
              <a:buClrTx/>
              <a:defRPr/>
            </a:pPr>
            <a:r>
              <a:rPr lang="en-US" altLang="zh-TW" sz="90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WORKING DRAFT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5" y="19"/>
            <a:ext cx="7729879" cy="6859620"/>
            <a:chOff x="0" y="0"/>
            <a:chExt cx="4772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8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610"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4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文件類型</a:t>
              </a:r>
              <a:endParaRPr lang="en-US" altLang="zh-TW" sz="1400" b="0" dirty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610"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4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日期</a:t>
              </a:r>
              <a:endParaRPr lang="en-US" altLang="zh-TW" sz="1400" b="0" dirty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1" name="McK Disclaimer" hidden="1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>
                <a:spcAft>
                  <a:spcPct val="0"/>
                </a:spcAft>
                <a:buClrTx/>
                <a:defRPr/>
              </a:pPr>
              <a:r>
                <a:rPr lang="zh-TW" altLang="en-US" sz="8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專屬機密資料</a:t>
              </a:r>
            </a:p>
            <a:p>
              <a:pPr>
                <a:spcAft>
                  <a:spcPct val="0"/>
                </a:spcAft>
                <a:buClrTx/>
                <a:defRPr/>
              </a:pPr>
              <a:r>
                <a:rPr lang="zh-TW" altLang="en-US" sz="8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未經麥肯錫許可，任何對此資料的使用嚴格禁止</a:t>
              </a:r>
              <a:endParaRPr lang="en-US" altLang="zh-TW" sz="800" b="0" dirty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610" eaLnBrk="1" hangingPunct="1">
                <a:buClr>
                  <a:srgbClr val="000000"/>
                </a:buClr>
                <a:defRPr/>
              </a:pPr>
              <a:endParaRPr lang="en-A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610" eaLnBrk="1" hangingPunct="1">
                <a:buClr>
                  <a:srgbClr val="000000"/>
                </a:buClr>
                <a:defRPr/>
              </a:pPr>
              <a:endParaRPr lang="en-AU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pic>
        <p:nvPicPr>
          <p:cNvPr id="14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5" y="6574749"/>
            <a:ext cx="1670054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doc id"/>
          <p:cNvSpPr>
            <a:spLocks noChangeArrowheads="1"/>
          </p:cNvSpPr>
          <p:nvPr/>
        </p:nvSpPr>
        <p:spPr bwMode="auto">
          <a:xfrm>
            <a:off x="8246616" y="37256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defRPr/>
            </a:pPr>
            <a:endParaRPr lang="cs-CZ" sz="800" b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pic>
        <p:nvPicPr>
          <p:cNvPr id="16" name="Picture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3801" y="3790227"/>
            <a:ext cx="6450204" cy="3087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2967"/>
            <a:ext cx="9144000" cy="13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61107" y="3945699"/>
            <a:ext cx="5036085" cy="21982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zh-TW" altLang="en-US" noProof="0"/>
              <a:t>按一下以編輯母片副標題樣式</a:t>
            </a:r>
            <a:endParaRPr lang="en-US" altLang="zh-TW" noProof="0" dirty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61107" y="2177143"/>
            <a:ext cx="5036085" cy="507831"/>
          </a:xfr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zh-TW" altLang="en-US" noProof="0"/>
              <a:t>按一下以編輯母片標題樣式</a:t>
            </a:r>
            <a:endParaRPr lang="en-US" altLang="zh-TW" noProof="0" dirty="0"/>
          </a:p>
        </p:txBody>
      </p:sp>
    </p:spTree>
    <p:extLst>
      <p:ext uri="{BB962C8B-B14F-4D97-AF65-F5344CB8AC3E}">
        <p14:creationId xmlns:p14="http://schemas.microsoft.com/office/powerpoint/2010/main" val="39239197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9159" y="6227918"/>
            <a:ext cx="199240" cy="155496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DBBDF5-E94D-4BE3-93E6-9864C9733258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0504751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物件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13789"/>
              </p:ext>
            </p:extLst>
          </p:nvPr>
        </p:nvGraphicFramePr>
        <p:xfrm>
          <a:off x="1725" y="173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25" y="173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2162" y="1990668"/>
            <a:ext cx="4389768" cy="1256112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DFA42A-C2E3-43B0-B9E8-C004CEAA189A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6063602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79" y="1990667"/>
            <a:ext cx="2117131" cy="2575030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805" y="1990667"/>
            <a:ext cx="2117132" cy="2575030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BDB6D9-26EF-48C5-A969-FFC6F5AE4DBD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1831467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6" y="275377"/>
            <a:ext cx="8230410" cy="29832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816" y="1912353"/>
            <a:ext cx="403988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07" indent="0">
              <a:buNone/>
              <a:defRPr sz="2000" b="1"/>
            </a:lvl2pPr>
            <a:lvl3pPr marL="913101" indent="0">
              <a:buNone/>
              <a:defRPr sz="1800" b="1"/>
            </a:lvl3pPr>
            <a:lvl4pPr marL="1369663" indent="0">
              <a:buNone/>
              <a:defRPr sz="1600" b="1"/>
            </a:lvl4pPr>
            <a:lvl5pPr marL="1826223" indent="0">
              <a:buNone/>
              <a:defRPr sz="1600" b="1"/>
            </a:lvl5pPr>
            <a:lvl6pPr marL="2282784" indent="0">
              <a:buNone/>
              <a:defRPr sz="1600" b="1"/>
            </a:lvl6pPr>
            <a:lvl7pPr marL="2739343" indent="0">
              <a:buNone/>
              <a:defRPr sz="1600" b="1"/>
            </a:lvl7pPr>
            <a:lvl8pPr marL="3195902" indent="0">
              <a:buNone/>
              <a:defRPr sz="1600" b="1"/>
            </a:lvl8pPr>
            <a:lvl9pPr marL="3652457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816" y="2175318"/>
            <a:ext cx="4039882" cy="14759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05" y="1912353"/>
            <a:ext cx="404150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07" indent="0">
              <a:buNone/>
              <a:defRPr sz="2000" b="1"/>
            </a:lvl2pPr>
            <a:lvl3pPr marL="913101" indent="0">
              <a:buNone/>
              <a:defRPr sz="1800" b="1"/>
            </a:lvl3pPr>
            <a:lvl4pPr marL="1369663" indent="0">
              <a:buNone/>
              <a:defRPr sz="1600" b="1"/>
            </a:lvl4pPr>
            <a:lvl5pPr marL="1826223" indent="0">
              <a:buNone/>
              <a:defRPr sz="1600" b="1"/>
            </a:lvl5pPr>
            <a:lvl6pPr marL="2282784" indent="0">
              <a:buNone/>
              <a:defRPr sz="1600" b="1"/>
            </a:lvl6pPr>
            <a:lvl7pPr marL="2739343" indent="0">
              <a:buNone/>
              <a:defRPr sz="1600" b="1"/>
            </a:lvl7pPr>
            <a:lvl8pPr marL="3195902" indent="0">
              <a:buNone/>
              <a:defRPr sz="1600" b="1"/>
            </a:lvl8pPr>
            <a:lvl9pPr marL="3652457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05" y="2175318"/>
            <a:ext cx="4041502" cy="14759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ED650D-3B6A-4CB1-B25D-0F38C10E7C85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6586468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9159" y="6227918"/>
            <a:ext cx="199240" cy="155496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DBBDF5-E94D-4BE3-93E6-9864C9733258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0177818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ABD007-652E-45DD-A49A-158DD1E771EE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353703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8605214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物件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4748991"/>
              </p:ext>
            </p:extLst>
          </p:nvPr>
        </p:nvGraphicFramePr>
        <p:xfrm>
          <a:off x="1725" y="173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25" y="173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1482162" y="1990673"/>
            <a:ext cx="4389768" cy="1256112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xfrm>
            <a:off x="457200" y="6356364"/>
            <a:ext cx="2133600" cy="365125"/>
          </a:xfrm>
          <a:prstGeom prst="rect">
            <a:avLst/>
          </a:prstGeom>
        </p:spPr>
        <p:txBody>
          <a:bodyPr lIns="89564" tIns="44789" rIns="89564" bIns="44789"/>
          <a:lstStyle/>
          <a:p>
            <a:pPr defTabSz="895610">
              <a:spcAft>
                <a:spcPct val="0"/>
              </a:spcAft>
            </a:pPr>
            <a:endParaRPr lang="zh-TW" altLang="en-US" sz="1300" b="1">
              <a:solidFill>
                <a:srgbClr val="000000"/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xfrm>
            <a:off x="3124201" y="6356364"/>
            <a:ext cx="2895600" cy="365125"/>
          </a:xfrm>
          <a:prstGeom prst="rect">
            <a:avLst/>
          </a:prstGeom>
        </p:spPr>
        <p:txBody>
          <a:bodyPr lIns="89564" tIns="44789" rIns="89564" bIns="44789"/>
          <a:lstStyle/>
          <a:p>
            <a:pPr defTabSz="895610">
              <a:spcAft>
                <a:spcPct val="0"/>
              </a:spcAft>
            </a:pPr>
            <a:endParaRPr lang="zh-TW" altLang="en-US" sz="1300" b="1">
              <a:solidFill>
                <a:srgbClr val="000000"/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</p:spPr>
        <p:txBody>
          <a:bodyPr/>
          <a:lstStyle/>
          <a:p>
            <a:fld id="{6454C28F-F186-4F04-8C4F-E89FEA3EAFC9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82468995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標題投影片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8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323838"/>
              </p:ext>
            </p:extLst>
          </p:nvPr>
        </p:nvGraphicFramePr>
        <p:xfrm>
          <a:off x="187" y="0"/>
          <a:ext cx="161985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7" y="0"/>
                        <a:ext cx="161985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>
            <a:off x="2693818" y="508626"/>
            <a:ext cx="29661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610" eaLnBrk="1" hangingPunct="1">
              <a:spcAft>
                <a:spcPct val="0"/>
              </a:spcAft>
              <a:buClrTx/>
              <a:defRPr/>
            </a:pPr>
            <a:r>
              <a:rPr lang="en-US" altLang="zh-TW" sz="900" b="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Last Modified 5/30/2014 10:13 AM China Standard Time</a:t>
            </a: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>
            <a:off x="2693799" y="668970"/>
            <a:ext cx="26406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610" eaLnBrk="1" hangingPunct="1">
              <a:spcAft>
                <a:spcPct val="0"/>
              </a:spcAft>
              <a:buClrTx/>
              <a:defRPr/>
            </a:pPr>
            <a:r>
              <a:rPr lang="en-US" altLang="zh-TW" sz="900" b="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Printed 5/22/2014 10:36 PM China Standard Time</a:t>
            </a:r>
          </a:p>
        </p:txBody>
      </p:sp>
      <p:sp>
        <p:nvSpPr>
          <p:cNvPr id="7" name="Working Draft Text" hidden="1"/>
          <p:cNvSpPr txBox="1">
            <a:spLocks noChangeArrowheads="1"/>
          </p:cNvSpPr>
          <p:nvPr/>
        </p:nvSpPr>
        <p:spPr bwMode="auto">
          <a:xfrm>
            <a:off x="2693803" y="349891"/>
            <a:ext cx="1025922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610" eaLnBrk="1" hangingPunct="1">
              <a:spcAft>
                <a:spcPct val="0"/>
              </a:spcAft>
              <a:buClrTx/>
              <a:defRPr/>
            </a:pPr>
            <a:r>
              <a:rPr lang="en-US" altLang="zh-TW" sz="90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WORKING DRAFT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5" y="19"/>
            <a:ext cx="7729879" cy="6859620"/>
            <a:chOff x="0" y="0"/>
            <a:chExt cx="4772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8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610"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4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文件類型</a:t>
              </a:r>
              <a:endParaRPr lang="en-US" altLang="zh-TW" sz="1400" b="0" dirty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610"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4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日期</a:t>
              </a:r>
              <a:endParaRPr lang="en-US" altLang="zh-TW" sz="1400" b="0" dirty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1" name="McK Disclaimer" hidden="1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>
                <a:spcAft>
                  <a:spcPct val="0"/>
                </a:spcAft>
                <a:buClrTx/>
                <a:defRPr/>
              </a:pPr>
              <a:r>
                <a:rPr lang="zh-TW" altLang="en-US" sz="8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專屬機密資料</a:t>
              </a:r>
            </a:p>
            <a:p>
              <a:pPr>
                <a:spcAft>
                  <a:spcPct val="0"/>
                </a:spcAft>
                <a:buClrTx/>
                <a:defRPr/>
              </a:pPr>
              <a:r>
                <a:rPr lang="zh-TW" altLang="en-US" sz="8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未經麥肯錫許可，任何對此資料的使用嚴格禁止</a:t>
              </a:r>
              <a:endParaRPr lang="en-US" altLang="zh-TW" sz="800" b="0" dirty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610" eaLnBrk="1" hangingPunct="1">
                <a:buClr>
                  <a:srgbClr val="000000"/>
                </a:buClr>
                <a:defRPr/>
              </a:pPr>
              <a:endParaRPr lang="en-A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610" eaLnBrk="1" hangingPunct="1">
                <a:buClr>
                  <a:srgbClr val="000000"/>
                </a:buClr>
                <a:defRPr/>
              </a:pPr>
              <a:endParaRPr lang="en-AU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pic>
        <p:nvPicPr>
          <p:cNvPr id="14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5" y="6574749"/>
            <a:ext cx="1670054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doc id"/>
          <p:cNvSpPr>
            <a:spLocks noChangeArrowheads="1"/>
          </p:cNvSpPr>
          <p:nvPr/>
        </p:nvSpPr>
        <p:spPr bwMode="auto">
          <a:xfrm>
            <a:off x="8246616" y="37256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defRPr/>
            </a:pPr>
            <a:endParaRPr lang="cs-CZ" sz="800" b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pic>
        <p:nvPicPr>
          <p:cNvPr id="16" name="Picture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3801" y="3790227"/>
            <a:ext cx="6450204" cy="3087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2967"/>
            <a:ext cx="9144000" cy="13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61107" y="3945699"/>
            <a:ext cx="5036085" cy="21982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zh-TW" altLang="en-US" noProof="0"/>
              <a:t>按一下以編輯母片副標題樣式</a:t>
            </a:r>
            <a:endParaRPr lang="en-US" altLang="zh-TW" noProof="0" dirty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61107" y="2177143"/>
            <a:ext cx="5036085" cy="507831"/>
          </a:xfr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zh-TW" altLang="en-US" noProof="0"/>
              <a:t>按一下以編輯母片標題樣式</a:t>
            </a:r>
            <a:endParaRPr lang="en-US" altLang="zh-TW" noProof="0" dirty="0"/>
          </a:p>
        </p:txBody>
      </p:sp>
    </p:spTree>
    <p:extLst>
      <p:ext uri="{BB962C8B-B14F-4D97-AF65-F5344CB8AC3E}">
        <p14:creationId xmlns:p14="http://schemas.microsoft.com/office/powerpoint/2010/main" val="39629831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物件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8064099"/>
              </p:ext>
            </p:extLst>
          </p:nvPr>
        </p:nvGraphicFramePr>
        <p:xfrm>
          <a:off x="1725" y="173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25" y="173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2162" y="1990668"/>
            <a:ext cx="4389768" cy="1256112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6" name="投影片編號版面配置區 2"/>
          <p:cNvSpPr>
            <a:spLocks noGrp="1"/>
          </p:cNvSpPr>
          <p:nvPr>
            <p:ph type="sldNum" sz="quarter" idx="4"/>
          </p:nvPr>
        </p:nvSpPr>
        <p:spPr>
          <a:xfrm>
            <a:off x="8671415" y="6580382"/>
            <a:ext cx="438779" cy="246217"/>
          </a:xfrm>
          <a:prstGeom prst="rect">
            <a:avLst/>
          </a:prstGeom>
        </p:spPr>
        <p:txBody>
          <a:bodyPr anchor="ctr"/>
          <a:lstStyle>
            <a:lvl1pPr algn="r">
              <a:defRPr sz="1000"/>
            </a:lvl1pPr>
          </a:lstStyle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/>
              <a:t> 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29950767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79" y="1990667"/>
            <a:ext cx="2117131" cy="2575030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805" y="1990667"/>
            <a:ext cx="2117132" cy="2575030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BDB6D9-26EF-48C5-A969-FFC6F5AE4DBD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491752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投影片編號版面配置區 2"/>
          <p:cNvSpPr>
            <a:spLocks noGrp="1"/>
          </p:cNvSpPr>
          <p:nvPr>
            <p:ph type="sldNum" sz="quarter" idx="4"/>
          </p:nvPr>
        </p:nvSpPr>
        <p:spPr>
          <a:xfrm>
            <a:off x="8671415" y="6580382"/>
            <a:ext cx="438779" cy="246217"/>
          </a:xfrm>
          <a:prstGeom prst="rect">
            <a:avLst/>
          </a:prstGeom>
        </p:spPr>
        <p:txBody>
          <a:bodyPr anchor="ctr"/>
          <a:lstStyle>
            <a:lvl1pPr algn="r">
              <a:defRPr sz="1000"/>
            </a:lvl1pPr>
          </a:lstStyle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/>
              <a:t> 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85311161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6" y="275377"/>
            <a:ext cx="8230410" cy="29832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816" y="1912353"/>
            <a:ext cx="403988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07" indent="0">
              <a:buNone/>
              <a:defRPr sz="2000" b="1"/>
            </a:lvl2pPr>
            <a:lvl3pPr marL="913101" indent="0">
              <a:buNone/>
              <a:defRPr sz="1800" b="1"/>
            </a:lvl3pPr>
            <a:lvl4pPr marL="1369663" indent="0">
              <a:buNone/>
              <a:defRPr sz="1600" b="1"/>
            </a:lvl4pPr>
            <a:lvl5pPr marL="1826223" indent="0">
              <a:buNone/>
              <a:defRPr sz="1600" b="1"/>
            </a:lvl5pPr>
            <a:lvl6pPr marL="2282784" indent="0">
              <a:buNone/>
              <a:defRPr sz="1600" b="1"/>
            </a:lvl6pPr>
            <a:lvl7pPr marL="2739343" indent="0">
              <a:buNone/>
              <a:defRPr sz="1600" b="1"/>
            </a:lvl7pPr>
            <a:lvl8pPr marL="3195902" indent="0">
              <a:buNone/>
              <a:defRPr sz="1600" b="1"/>
            </a:lvl8pPr>
            <a:lvl9pPr marL="3652457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816" y="2175318"/>
            <a:ext cx="4039882" cy="14759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05" y="1912353"/>
            <a:ext cx="404150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07" indent="0">
              <a:buNone/>
              <a:defRPr sz="2000" b="1"/>
            </a:lvl2pPr>
            <a:lvl3pPr marL="913101" indent="0">
              <a:buNone/>
              <a:defRPr sz="1800" b="1"/>
            </a:lvl3pPr>
            <a:lvl4pPr marL="1369663" indent="0">
              <a:buNone/>
              <a:defRPr sz="1600" b="1"/>
            </a:lvl4pPr>
            <a:lvl5pPr marL="1826223" indent="0">
              <a:buNone/>
              <a:defRPr sz="1600" b="1"/>
            </a:lvl5pPr>
            <a:lvl6pPr marL="2282784" indent="0">
              <a:buNone/>
              <a:defRPr sz="1600" b="1"/>
            </a:lvl6pPr>
            <a:lvl7pPr marL="2739343" indent="0">
              <a:buNone/>
              <a:defRPr sz="1600" b="1"/>
            </a:lvl7pPr>
            <a:lvl8pPr marL="3195902" indent="0">
              <a:buNone/>
              <a:defRPr sz="1600" b="1"/>
            </a:lvl8pPr>
            <a:lvl9pPr marL="3652457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05" y="2175318"/>
            <a:ext cx="4041502" cy="14759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ED650D-3B6A-4CB1-B25D-0F38C10E7C85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4532859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9159" y="6227918"/>
            <a:ext cx="199240" cy="155496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DBBDF5-E94D-4BE3-93E6-9864C9733258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0398411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ABD007-652E-45DD-A49A-158DD1E771EE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3402805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4769299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物件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483313"/>
              </p:ext>
            </p:extLst>
          </p:nvPr>
        </p:nvGraphicFramePr>
        <p:xfrm>
          <a:off x="1725" y="173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25" y="173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1482162" y="1990673"/>
            <a:ext cx="4389768" cy="1256112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xfrm>
            <a:off x="457200" y="6356364"/>
            <a:ext cx="2133600" cy="365125"/>
          </a:xfrm>
          <a:prstGeom prst="rect">
            <a:avLst/>
          </a:prstGeom>
        </p:spPr>
        <p:txBody>
          <a:bodyPr lIns="89564" tIns="44789" rIns="89564" bIns="44789"/>
          <a:lstStyle/>
          <a:p>
            <a:pPr defTabSz="895610">
              <a:spcAft>
                <a:spcPct val="0"/>
              </a:spcAft>
            </a:pPr>
            <a:endParaRPr lang="zh-TW" altLang="en-US" sz="1300" b="1">
              <a:solidFill>
                <a:srgbClr val="000000"/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xfrm>
            <a:off x="3124201" y="6356364"/>
            <a:ext cx="2895600" cy="365125"/>
          </a:xfrm>
          <a:prstGeom prst="rect">
            <a:avLst/>
          </a:prstGeom>
        </p:spPr>
        <p:txBody>
          <a:bodyPr lIns="89564" tIns="44789" rIns="89564" bIns="44789"/>
          <a:lstStyle/>
          <a:p>
            <a:pPr defTabSz="895610">
              <a:spcAft>
                <a:spcPct val="0"/>
              </a:spcAft>
            </a:pPr>
            <a:endParaRPr lang="zh-TW" altLang="en-US" sz="1300" b="1">
              <a:solidFill>
                <a:srgbClr val="000000"/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</p:spPr>
        <p:txBody>
          <a:bodyPr/>
          <a:lstStyle/>
          <a:p>
            <a:fld id="{6454C28F-F186-4F04-8C4F-E89FEA3EAFC9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68974943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標題投影片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8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9174786"/>
              </p:ext>
            </p:extLst>
          </p:nvPr>
        </p:nvGraphicFramePr>
        <p:xfrm>
          <a:off x="187" y="0"/>
          <a:ext cx="161985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7" y="0"/>
                        <a:ext cx="161985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>
            <a:off x="2693818" y="508626"/>
            <a:ext cx="29661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610" eaLnBrk="1" hangingPunct="1">
              <a:spcAft>
                <a:spcPct val="0"/>
              </a:spcAft>
              <a:buClrTx/>
              <a:defRPr/>
            </a:pPr>
            <a:r>
              <a:rPr lang="en-US" altLang="zh-TW" sz="900" b="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Last Modified 5/30/2014 10:13 AM China Standard Time</a:t>
            </a: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>
            <a:off x="2693799" y="668970"/>
            <a:ext cx="26406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610" eaLnBrk="1" hangingPunct="1">
              <a:spcAft>
                <a:spcPct val="0"/>
              </a:spcAft>
              <a:buClrTx/>
              <a:defRPr/>
            </a:pPr>
            <a:r>
              <a:rPr lang="en-US" altLang="zh-TW" sz="900" b="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Printed 5/22/2014 10:36 PM China Standard Time</a:t>
            </a:r>
          </a:p>
        </p:txBody>
      </p:sp>
      <p:sp>
        <p:nvSpPr>
          <p:cNvPr id="7" name="Working Draft Text" hidden="1"/>
          <p:cNvSpPr txBox="1">
            <a:spLocks noChangeArrowheads="1"/>
          </p:cNvSpPr>
          <p:nvPr/>
        </p:nvSpPr>
        <p:spPr bwMode="auto">
          <a:xfrm>
            <a:off x="2693803" y="349891"/>
            <a:ext cx="1025922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610" eaLnBrk="1" hangingPunct="1">
              <a:spcAft>
                <a:spcPct val="0"/>
              </a:spcAft>
              <a:buClrTx/>
              <a:defRPr/>
            </a:pPr>
            <a:r>
              <a:rPr lang="en-US" altLang="zh-TW" sz="90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WORKING DRAFT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5" y="19"/>
            <a:ext cx="7729879" cy="6859620"/>
            <a:chOff x="0" y="0"/>
            <a:chExt cx="4772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8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610"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4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文件類型</a:t>
              </a:r>
              <a:endParaRPr lang="en-US" altLang="zh-TW" sz="1400" b="0" dirty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610"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4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日期</a:t>
              </a:r>
              <a:endParaRPr lang="en-US" altLang="zh-TW" sz="1400" b="0" dirty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1" name="McK Disclaimer" hidden="1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>
                <a:spcAft>
                  <a:spcPct val="0"/>
                </a:spcAft>
                <a:buClrTx/>
                <a:defRPr/>
              </a:pPr>
              <a:r>
                <a:rPr lang="zh-TW" altLang="en-US" sz="8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專屬機密資料</a:t>
              </a:r>
            </a:p>
            <a:p>
              <a:pPr>
                <a:spcAft>
                  <a:spcPct val="0"/>
                </a:spcAft>
                <a:buClrTx/>
                <a:defRPr/>
              </a:pPr>
              <a:r>
                <a:rPr lang="zh-TW" altLang="en-US" sz="8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未經麥肯錫許可，任何對此資料的使用嚴格禁止</a:t>
              </a:r>
              <a:endParaRPr lang="en-US" altLang="zh-TW" sz="800" b="0" dirty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610" eaLnBrk="1" hangingPunct="1">
                <a:buClr>
                  <a:srgbClr val="000000"/>
                </a:buClr>
                <a:defRPr/>
              </a:pPr>
              <a:endParaRPr lang="en-A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610" eaLnBrk="1" hangingPunct="1">
                <a:buClr>
                  <a:srgbClr val="000000"/>
                </a:buClr>
                <a:defRPr/>
              </a:pPr>
              <a:endParaRPr lang="en-AU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pic>
        <p:nvPicPr>
          <p:cNvPr id="14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5" y="6574749"/>
            <a:ext cx="1670054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doc id"/>
          <p:cNvSpPr>
            <a:spLocks noChangeArrowheads="1"/>
          </p:cNvSpPr>
          <p:nvPr/>
        </p:nvSpPr>
        <p:spPr bwMode="auto">
          <a:xfrm>
            <a:off x="8246616" y="37256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defRPr/>
            </a:pPr>
            <a:endParaRPr lang="cs-CZ" sz="800" b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pic>
        <p:nvPicPr>
          <p:cNvPr id="16" name="Picture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3801" y="3790227"/>
            <a:ext cx="6450204" cy="3087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2967"/>
            <a:ext cx="9144000" cy="13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61107" y="3945699"/>
            <a:ext cx="5036085" cy="21982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zh-TW" altLang="en-US" noProof="0"/>
              <a:t>按一下以編輯母片副標題樣式</a:t>
            </a:r>
            <a:endParaRPr lang="en-US" altLang="zh-TW" noProof="0" dirty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61107" y="2177143"/>
            <a:ext cx="5036085" cy="507831"/>
          </a:xfr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zh-TW" altLang="en-US" noProof="0"/>
              <a:t>按一下以編輯母片標題樣式</a:t>
            </a:r>
            <a:endParaRPr lang="en-US" altLang="zh-TW" noProof="0" dirty="0"/>
          </a:p>
        </p:txBody>
      </p:sp>
    </p:spTree>
    <p:extLst>
      <p:ext uri="{BB962C8B-B14F-4D97-AF65-F5344CB8AC3E}">
        <p14:creationId xmlns:p14="http://schemas.microsoft.com/office/powerpoint/2010/main" val="260977724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物件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9177534"/>
              </p:ext>
            </p:extLst>
          </p:nvPr>
        </p:nvGraphicFramePr>
        <p:xfrm>
          <a:off x="1725" y="173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25" y="173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2162" y="1990668"/>
            <a:ext cx="4389768" cy="1256112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DFA42A-C2E3-43B0-B9E8-C004CEAA189A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5878637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79" y="1990667"/>
            <a:ext cx="2117131" cy="2575030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805" y="1990667"/>
            <a:ext cx="2117132" cy="2575030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BDB6D9-26EF-48C5-A969-FFC6F5AE4DBD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7363721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6" y="275377"/>
            <a:ext cx="8230410" cy="29832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816" y="1912353"/>
            <a:ext cx="403988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07" indent="0">
              <a:buNone/>
              <a:defRPr sz="2000" b="1"/>
            </a:lvl2pPr>
            <a:lvl3pPr marL="913101" indent="0">
              <a:buNone/>
              <a:defRPr sz="1800" b="1"/>
            </a:lvl3pPr>
            <a:lvl4pPr marL="1369663" indent="0">
              <a:buNone/>
              <a:defRPr sz="1600" b="1"/>
            </a:lvl4pPr>
            <a:lvl5pPr marL="1826223" indent="0">
              <a:buNone/>
              <a:defRPr sz="1600" b="1"/>
            </a:lvl5pPr>
            <a:lvl6pPr marL="2282784" indent="0">
              <a:buNone/>
              <a:defRPr sz="1600" b="1"/>
            </a:lvl6pPr>
            <a:lvl7pPr marL="2739343" indent="0">
              <a:buNone/>
              <a:defRPr sz="1600" b="1"/>
            </a:lvl7pPr>
            <a:lvl8pPr marL="3195902" indent="0">
              <a:buNone/>
              <a:defRPr sz="1600" b="1"/>
            </a:lvl8pPr>
            <a:lvl9pPr marL="3652457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816" y="2175318"/>
            <a:ext cx="4039882" cy="14759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05" y="1912353"/>
            <a:ext cx="404150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07" indent="0">
              <a:buNone/>
              <a:defRPr sz="2000" b="1"/>
            </a:lvl2pPr>
            <a:lvl3pPr marL="913101" indent="0">
              <a:buNone/>
              <a:defRPr sz="1800" b="1"/>
            </a:lvl3pPr>
            <a:lvl4pPr marL="1369663" indent="0">
              <a:buNone/>
              <a:defRPr sz="1600" b="1"/>
            </a:lvl4pPr>
            <a:lvl5pPr marL="1826223" indent="0">
              <a:buNone/>
              <a:defRPr sz="1600" b="1"/>
            </a:lvl5pPr>
            <a:lvl6pPr marL="2282784" indent="0">
              <a:buNone/>
              <a:defRPr sz="1600" b="1"/>
            </a:lvl6pPr>
            <a:lvl7pPr marL="2739343" indent="0">
              <a:buNone/>
              <a:defRPr sz="1600" b="1"/>
            </a:lvl7pPr>
            <a:lvl8pPr marL="3195902" indent="0">
              <a:buNone/>
              <a:defRPr sz="1600" b="1"/>
            </a:lvl8pPr>
            <a:lvl9pPr marL="3652457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05" y="2175318"/>
            <a:ext cx="4041502" cy="14759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ED650D-3B6A-4CB1-B25D-0F38C10E7C85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3007796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9159" y="6227918"/>
            <a:ext cx="199240" cy="155496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DBBDF5-E94D-4BE3-93E6-9864C9733258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079498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3334692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ABD007-652E-45DD-A49A-158DD1E771EE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1845066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2583676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物件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7181773"/>
              </p:ext>
            </p:extLst>
          </p:nvPr>
        </p:nvGraphicFramePr>
        <p:xfrm>
          <a:off x="1725" y="173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25" y="173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1482162" y="1990673"/>
            <a:ext cx="4389768" cy="1256112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xfrm>
            <a:off x="457200" y="6356364"/>
            <a:ext cx="2133600" cy="365125"/>
          </a:xfrm>
          <a:prstGeom prst="rect">
            <a:avLst/>
          </a:prstGeom>
        </p:spPr>
        <p:txBody>
          <a:bodyPr lIns="89564" tIns="44789" rIns="89564" bIns="44789"/>
          <a:lstStyle/>
          <a:p>
            <a:pPr defTabSz="895610">
              <a:spcAft>
                <a:spcPct val="0"/>
              </a:spcAft>
            </a:pPr>
            <a:endParaRPr lang="zh-TW" altLang="en-US" sz="1300" b="1">
              <a:solidFill>
                <a:srgbClr val="000000"/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xfrm>
            <a:off x="3124201" y="6356364"/>
            <a:ext cx="2895600" cy="365125"/>
          </a:xfrm>
          <a:prstGeom prst="rect">
            <a:avLst/>
          </a:prstGeom>
        </p:spPr>
        <p:txBody>
          <a:bodyPr lIns="89564" tIns="44789" rIns="89564" bIns="44789"/>
          <a:lstStyle/>
          <a:p>
            <a:pPr defTabSz="895610">
              <a:spcAft>
                <a:spcPct val="0"/>
              </a:spcAft>
            </a:pPr>
            <a:endParaRPr lang="zh-TW" altLang="en-US" sz="1300" b="1">
              <a:solidFill>
                <a:srgbClr val="000000"/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</p:spPr>
        <p:txBody>
          <a:bodyPr/>
          <a:lstStyle/>
          <a:p>
            <a:fld id="{6454C28F-F186-4F04-8C4F-E89FEA3EAFC9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95776964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8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3673459"/>
              </p:ext>
            </p:extLst>
          </p:nvPr>
        </p:nvGraphicFramePr>
        <p:xfrm>
          <a:off x="92" y="0"/>
          <a:ext cx="161985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" y="0"/>
                        <a:ext cx="161985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>
            <a:off x="2693817" y="508626"/>
            <a:ext cx="2937644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5717" eaLnBrk="1" fontAlgn="base" hangingPunct="1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altLang="zh-TW" sz="900" b="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Last Modified 5/30/2014 10:13 AM China Standard Time</a:t>
            </a: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>
            <a:off x="2693799" y="668969"/>
            <a:ext cx="2610512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5717" eaLnBrk="1" fontAlgn="base" hangingPunct="1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altLang="zh-TW" sz="900" b="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Printed 5/22/2014 10:36 PM China Standard Time</a:t>
            </a:r>
          </a:p>
        </p:txBody>
      </p:sp>
      <p:sp>
        <p:nvSpPr>
          <p:cNvPr id="7" name="Working Draft Text" hidden="1"/>
          <p:cNvSpPr txBox="1">
            <a:spLocks noChangeArrowheads="1"/>
          </p:cNvSpPr>
          <p:nvPr/>
        </p:nvSpPr>
        <p:spPr bwMode="auto">
          <a:xfrm>
            <a:off x="2693801" y="349891"/>
            <a:ext cx="1014109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5717" eaLnBrk="1" fontAlgn="base" hangingPunct="1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altLang="zh-TW" sz="90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WORKING DRAFT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6" y="19"/>
            <a:ext cx="7729879" cy="6859620"/>
            <a:chOff x="0" y="0"/>
            <a:chExt cx="4772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8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5717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r>
                <a:rPr lang="zh-TW" altLang="en-US" sz="14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文件類型</a:t>
              </a:r>
              <a:endParaRPr lang="en-US" altLang="zh-TW" sz="1400" b="0" dirty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5717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r>
                <a:rPr lang="zh-TW" altLang="en-US" sz="14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日期</a:t>
              </a:r>
              <a:endParaRPr lang="en-US" altLang="zh-TW" sz="1400" b="0" dirty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1" name="McK Disclaimer" hidden="1"/>
            <p:cNvSpPr>
              <a:spLocks noChangeArrowheads="1"/>
            </p:cNvSpPr>
            <p:nvPr userDrawn="1">
              <p:custDataLst>
                <p:tags r:id="rId2"/>
              </p:custDataLst>
            </p:nvPr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r>
                <a:rPr lang="zh-TW" altLang="en-US" sz="8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專屬機密資料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r>
                <a:rPr lang="zh-TW" altLang="en-US" sz="8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未經麥肯錫許可，任何對此資料的使用嚴格禁止</a:t>
              </a:r>
              <a:endParaRPr lang="en-US" altLang="zh-TW" sz="800" b="0" dirty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5717" eaLnBrk="1" fontAlgn="base" hangingPunct="1">
                <a:spcBef>
                  <a:spcPct val="0"/>
                </a:spcBef>
                <a:buClr>
                  <a:srgbClr val="000000"/>
                </a:buClr>
                <a:defRPr/>
              </a:pPr>
              <a:endParaRPr lang="en-A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5717" eaLnBrk="1" fontAlgn="base" hangingPunct="1">
                <a:spcBef>
                  <a:spcPct val="0"/>
                </a:spcBef>
                <a:buClr>
                  <a:srgbClr val="000000"/>
                </a:buClr>
                <a:defRPr/>
              </a:pPr>
              <a:endParaRPr lang="en-AU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pic>
        <p:nvPicPr>
          <p:cNvPr id="14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5" y="6574643"/>
            <a:ext cx="1670054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doc id"/>
          <p:cNvSpPr>
            <a:spLocks noChangeArrowheads="1"/>
          </p:cNvSpPr>
          <p:nvPr/>
        </p:nvSpPr>
        <p:spPr bwMode="auto">
          <a:xfrm>
            <a:off x="8246616" y="37256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cs-CZ" sz="800" b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pic>
        <p:nvPicPr>
          <p:cNvPr id="16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3801" y="3790227"/>
            <a:ext cx="6450204" cy="3087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2966"/>
            <a:ext cx="9144000" cy="13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61103" y="3945699"/>
            <a:ext cx="5036085" cy="21982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 altLang="zh-TW" noProof="0" dirty="0"/>
              <a:t>Click to edit Master subtitle styl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61103" y="2177037"/>
            <a:ext cx="5036085" cy="507831"/>
          </a:xfr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en-US" altLang="zh-TW" noProof="0" dirty="0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256328629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2161" y="1990668"/>
            <a:ext cx="4389768" cy="12561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346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DFA42A-C2E3-43B0-B9E8-C004CEAA189A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6618403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77" y="1990667"/>
            <a:ext cx="2117131" cy="2575030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804" y="1990667"/>
            <a:ext cx="2117132" cy="2575030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346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BDB6D9-26EF-48C5-A969-FFC6F5AE4DBD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5668598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6" y="275377"/>
            <a:ext cx="8230410" cy="29832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816" y="1535519"/>
            <a:ext cx="4039882" cy="75366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1664" indent="0">
              <a:buNone/>
              <a:defRPr sz="2000" b="1"/>
            </a:lvl2pPr>
            <a:lvl3pPr marL="923411" indent="0">
              <a:buNone/>
              <a:defRPr sz="1800" b="1"/>
            </a:lvl3pPr>
            <a:lvl4pPr marL="1385127" indent="0">
              <a:buNone/>
              <a:defRPr sz="1600" b="1"/>
            </a:lvl4pPr>
            <a:lvl5pPr marL="1846834" indent="0">
              <a:buNone/>
              <a:defRPr sz="1600" b="1"/>
            </a:lvl5pPr>
            <a:lvl6pPr marL="2308545" indent="0">
              <a:buNone/>
              <a:defRPr sz="1600" b="1"/>
            </a:lvl6pPr>
            <a:lvl7pPr marL="2770253" indent="0">
              <a:buNone/>
              <a:defRPr sz="1600" b="1"/>
            </a:lvl7pPr>
            <a:lvl8pPr marL="3231962" indent="0">
              <a:buNone/>
              <a:defRPr sz="1600" b="1"/>
            </a:lvl8pPr>
            <a:lvl9pPr marL="3693672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816" y="2175318"/>
            <a:ext cx="4039882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04" y="1535519"/>
            <a:ext cx="4041502" cy="75366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1664" indent="0">
              <a:buNone/>
              <a:defRPr sz="2000" b="1"/>
            </a:lvl2pPr>
            <a:lvl3pPr marL="923411" indent="0">
              <a:buNone/>
              <a:defRPr sz="1800" b="1"/>
            </a:lvl3pPr>
            <a:lvl4pPr marL="1385127" indent="0">
              <a:buNone/>
              <a:defRPr sz="1600" b="1"/>
            </a:lvl4pPr>
            <a:lvl5pPr marL="1846834" indent="0">
              <a:buNone/>
              <a:defRPr sz="1600" b="1"/>
            </a:lvl5pPr>
            <a:lvl6pPr marL="2308545" indent="0">
              <a:buNone/>
              <a:defRPr sz="1600" b="1"/>
            </a:lvl6pPr>
            <a:lvl7pPr marL="2770253" indent="0">
              <a:buNone/>
              <a:defRPr sz="1600" b="1"/>
            </a:lvl7pPr>
            <a:lvl8pPr marL="3231962" indent="0">
              <a:buNone/>
              <a:defRPr sz="1600" b="1"/>
            </a:lvl8pPr>
            <a:lvl9pPr marL="3693672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04" y="2175318"/>
            <a:ext cx="4041502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346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ED650D-3B6A-4CB1-B25D-0F38C10E7C85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7048421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9159" y="6227918"/>
            <a:ext cx="199240" cy="155496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DBBDF5-E94D-4BE3-93E6-9864C9733258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9046698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346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ABD007-652E-45DD-A49A-158DD1E771EE}" type="slidenum">
              <a:rPr lang="zh-TW" altLang="en-US"/>
              <a:pPr>
                <a:defRPr/>
              </a:pPr>
              <a:t>‹#›</a:t>
            </a:fld>
            <a:r>
              <a:rPr lang="en-US" altLang="zh-TW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2378809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4" name="投影片編號版面配置區 2"/>
          <p:cNvSpPr>
            <a:spLocks noGrp="1"/>
          </p:cNvSpPr>
          <p:nvPr>
            <p:ph type="sldNum" sz="quarter" idx="10"/>
          </p:nvPr>
        </p:nvSpPr>
        <p:spPr>
          <a:xfrm>
            <a:off x="8671415" y="6580382"/>
            <a:ext cx="438779" cy="246217"/>
          </a:xfrm>
          <a:prstGeom prst="rect">
            <a:avLst/>
          </a:prstGeom>
        </p:spPr>
        <p:txBody>
          <a:bodyPr anchor="ctr"/>
          <a:lstStyle>
            <a:lvl1pPr algn="r">
              <a:defRPr sz="1000"/>
            </a:lvl1pPr>
          </a:lstStyle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/>
              <a:t> 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7286994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物件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1518825"/>
              </p:ext>
            </p:extLst>
          </p:nvPr>
        </p:nvGraphicFramePr>
        <p:xfrm>
          <a:off x="1725" y="173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25" y="173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1482162" y="1990673"/>
            <a:ext cx="4389768" cy="1256112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xfrm>
            <a:off x="457200" y="6356364"/>
            <a:ext cx="2133600" cy="365125"/>
          </a:xfrm>
          <a:prstGeom prst="rect">
            <a:avLst/>
          </a:prstGeom>
        </p:spPr>
        <p:txBody>
          <a:bodyPr lIns="89564" tIns="44789" rIns="89564" bIns="44789"/>
          <a:lstStyle/>
          <a:p>
            <a:pPr defTabSz="895610">
              <a:spcAft>
                <a:spcPct val="0"/>
              </a:spcAft>
            </a:pPr>
            <a:endParaRPr lang="zh-TW" altLang="en-US" sz="1300" b="1">
              <a:solidFill>
                <a:srgbClr val="000000"/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xfrm>
            <a:off x="3124201" y="6356364"/>
            <a:ext cx="2895600" cy="365125"/>
          </a:xfrm>
          <a:prstGeom prst="rect">
            <a:avLst/>
          </a:prstGeom>
        </p:spPr>
        <p:txBody>
          <a:bodyPr lIns="89564" tIns="44789" rIns="89564" bIns="44789"/>
          <a:lstStyle/>
          <a:p>
            <a:pPr defTabSz="895610">
              <a:spcAft>
                <a:spcPct val="0"/>
              </a:spcAft>
            </a:pPr>
            <a:endParaRPr lang="zh-TW" altLang="en-US" sz="1300" b="1">
              <a:solidFill>
                <a:srgbClr val="000000"/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</p:spPr>
        <p:txBody>
          <a:bodyPr/>
          <a:lstStyle/>
          <a:p>
            <a:fld id="{6454C28F-F186-4F04-8C4F-E89FEA3EAFC9}" type="slidenum">
              <a:rPr lang="zh-TW" altLang="en-US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76782637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3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國泰醫院-直式海報-總院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350" y="5961063"/>
            <a:ext cx="9144000" cy="939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12" name="Shape 1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pPr lvl="0"/>
            <a:endParaRPr/>
          </a:p>
        </p:txBody>
      </p:sp>
      <p:sp>
        <p:nvSpPr>
          <p:cNvPr id="13" name="Shape 13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pPr lvl="0"/>
            <a:endParaRPr dirty="0"/>
          </a:p>
        </p:txBody>
      </p:sp>
      <p:sp>
        <p:nvSpPr>
          <p:cNvPr id="5" name="Shape 1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842ECDF3-DAEC-4007-A65A-4723CD53D6CF}" type="slidenum">
              <a:rPr lang="zh-TW" altLang="zh-TW" smtClean="0">
                <a:sym typeface="Helvetica" panose="020B0604020202020204" pitchFamily="34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zh-TW" altLang="zh-TW" dirty="0">
              <a:sym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2819254"/>
      </p:ext>
    </p:extLst>
  </p:cSld>
  <p:clrMapOvr>
    <a:masterClrMapping/>
  </p:clrMapOvr>
  <p:transition spd="med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直線接點 4"/>
          <p:cNvCxnSpPr/>
          <p:nvPr userDrawn="1"/>
        </p:nvCxnSpPr>
        <p:spPr>
          <a:xfrm>
            <a:off x="457200" y="692696"/>
            <a:ext cx="8229600" cy="0"/>
          </a:xfrm>
          <a:prstGeom prst="line">
            <a:avLst/>
          </a:prstGeom>
          <a:noFill/>
          <a:ln w="31750" cap="flat">
            <a:solidFill>
              <a:srgbClr val="00B050"/>
            </a:solidFill>
            <a:prstDash val="solid"/>
            <a:bevel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Shape 18"/>
          <p:cNvSpPr>
            <a:spLocks noGrp="1"/>
          </p:cNvSpPr>
          <p:nvPr>
            <p:ph type="title"/>
          </p:nvPr>
        </p:nvSpPr>
        <p:spPr>
          <a:xfrm>
            <a:off x="470790" y="130622"/>
            <a:ext cx="8229600" cy="562074"/>
          </a:xfrm>
          <a:prstGeom prst="rect">
            <a:avLst/>
          </a:prstGeom>
        </p:spPr>
        <p:txBody>
          <a:bodyPr anchor="ctr"/>
          <a:lstStyle>
            <a:lvl1pPr algn="l">
              <a:defRPr sz="2400" b="1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pPr lvl="0"/>
            <a:endParaRPr dirty="0"/>
          </a:p>
        </p:txBody>
      </p:sp>
      <p:sp>
        <p:nvSpPr>
          <p:cNvPr id="19" name="Shape 19"/>
          <p:cNvSpPr>
            <a:spLocks noGrp="1"/>
          </p:cNvSpPr>
          <p:nvPr>
            <p:ph type="body" idx="1"/>
          </p:nvPr>
        </p:nvSpPr>
        <p:spPr>
          <a:xfrm>
            <a:off x="457200" y="1112045"/>
            <a:ext cx="8229600" cy="5257800"/>
          </a:xfrm>
          <a:prstGeom prst="rect">
            <a:avLst/>
          </a:prstGeom>
        </p:spPr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pPr lvl="0"/>
            <a:endParaRPr dirty="0"/>
          </a:p>
        </p:txBody>
      </p:sp>
      <p:sp>
        <p:nvSpPr>
          <p:cNvPr id="8" name="投影片編號版面配置區 2"/>
          <p:cNvSpPr>
            <a:spLocks noGrp="1"/>
          </p:cNvSpPr>
          <p:nvPr>
            <p:ph type="sldNum" sz="quarter" idx="10"/>
          </p:nvPr>
        </p:nvSpPr>
        <p:spPr>
          <a:xfrm>
            <a:off x="8671415" y="6580382"/>
            <a:ext cx="438779" cy="246217"/>
          </a:xfrm>
        </p:spPr>
        <p:txBody>
          <a:bodyPr/>
          <a:lstStyle>
            <a:lvl1pPr>
              <a:defRPr sz="1000"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/>
              <a:t> </a:t>
            </a:r>
            <a:endParaRPr lang="en-US" altLang="zh-TW" dirty="0"/>
          </a:p>
        </p:txBody>
      </p:sp>
      <p:pic>
        <p:nvPicPr>
          <p:cNvPr id="6" name="國泰醫院-直式海報-總院.jpg"/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5918150"/>
            <a:ext cx="9144000" cy="93985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46442519"/>
      </p:ext>
    </p:extLst>
  </p:cSld>
  <p:clrMapOvr>
    <a:masterClrMapping/>
  </p:clrMapOvr>
  <p:transition spd="med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投影片編號版面配置區 2"/>
          <p:cNvSpPr>
            <a:spLocks noGrp="1"/>
          </p:cNvSpPr>
          <p:nvPr>
            <p:ph type="sldNum" sz="quarter" idx="10"/>
          </p:nvPr>
        </p:nvSpPr>
        <p:spPr>
          <a:xfrm>
            <a:off x="8671415" y="6580382"/>
            <a:ext cx="438779" cy="246217"/>
          </a:xfrm>
        </p:spPr>
        <p:txBody>
          <a:bodyPr/>
          <a:lstStyle>
            <a:lvl1pPr>
              <a:defRPr sz="1000"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/>
              <a:t> 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592695168"/>
      </p:ext>
    </p:extLst>
  </p:cSld>
  <p:clrMapOvr>
    <a:masterClrMapping/>
  </p:clrMapOvr>
  <p:transition spd="med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1. On-page tracker" hidden="1"/>
          <p:cNvSpPr>
            <a:spLocks noChangeArrowheads="1"/>
          </p:cNvSpPr>
          <p:nvPr/>
        </p:nvSpPr>
        <p:spPr bwMode="auto">
          <a:xfrm>
            <a:off x="122238" y="26988"/>
            <a:ext cx="8763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5813" eaLnBrk="1" hangingPunct="1">
              <a:spcAft>
                <a:spcPct val="0"/>
              </a:spcAft>
              <a:buClrTx/>
              <a:defRPr/>
            </a:pPr>
            <a:r>
              <a:rPr lang="en-US" altLang="zh-TW" sz="1400" b="0" dirty="0">
                <a:solidFill>
                  <a:srgbClr val="808080"/>
                </a:solidFill>
                <a:ea typeface="DFKai-SB" pitchFamily="65" charset="-120"/>
                <a:cs typeface="Arial" charset="0"/>
              </a:rPr>
              <a:t>TRACKER</a:t>
            </a:r>
          </a:p>
        </p:txBody>
      </p:sp>
      <p:sp>
        <p:nvSpPr>
          <p:cNvPr id="5" name="McK 3. Unit of measure" hidden="1"/>
          <p:cNvSpPr txBox="1">
            <a:spLocks noChangeArrowheads="1"/>
          </p:cNvSpPr>
          <p:nvPr/>
        </p:nvSpPr>
        <p:spPr bwMode="auto">
          <a:xfrm>
            <a:off x="122238" y="542925"/>
            <a:ext cx="3729037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altLang="zh-TW" sz="1400" dirty="0">
                <a:solidFill>
                  <a:srgbClr val="808080"/>
                </a:solidFill>
                <a:ea typeface="DFKai-SB"/>
              </a:rPr>
              <a:t>Unit of measure</a:t>
            </a:r>
          </a:p>
        </p:txBody>
      </p:sp>
      <p:grpSp>
        <p:nvGrpSpPr>
          <p:cNvPr id="6" name="McK Slide Elements"/>
          <p:cNvGrpSpPr>
            <a:grpSpLocks/>
          </p:cNvGrpSpPr>
          <p:nvPr/>
        </p:nvGrpSpPr>
        <p:grpSpPr bwMode="auto">
          <a:xfrm>
            <a:off x="122238" y="6202363"/>
            <a:ext cx="8721725" cy="520700"/>
            <a:chOff x="75" y="3829"/>
            <a:chExt cx="5385" cy="322"/>
          </a:xfrm>
        </p:grpSpPr>
        <p:sp>
          <p:nvSpPr>
            <p:cNvPr id="7" name="McK 4. Footnote" hidden="1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zh-TW" sz="1000" dirty="0">
                  <a:solidFill>
                    <a:srgbClr val="000000"/>
                  </a:solidFill>
                  <a:ea typeface="DFKai-SB"/>
                </a:rPr>
                <a:t>1 </a:t>
              </a:r>
              <a:r>
                <a:rPr lang="zh-TW" altLang="en-US" sz="1000" dirty="0">
                  <a:solidFill>
                    <a:srgbClr val="000000"/>
                  </a:solidFill>
                  <a:ea typeface="DFKai-SB"/>
                </a:rPr>
                <a:t>註釋</a:t>
              </a:r>
              <a:endParaRPr lang="en-US" altLang="zh-TW" sz="1000" dirty="0">
                <a:solidFill>
                  <a:srgbClr val="000000"/>
                </a:solidFill>
                <a:ea typeface="DFKai-SB"/>
              </a:endParaRPr>
            </a:p>
          </p:txBody>
        </p:sp>
        <p:sp>
          <p:nvSpPr>
            <p:cNvPr id="8" name="McK 5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31825" indent="-631825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0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資料來源：</a:t>
              </a:r>
              <a:endParaRPr lang="en-US" altLang="zh-TW" sz="1000" b="0" dirty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</p:grp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1482725" y="1146175"/>
            <a:ext cx="4349750" cy="522288"/>
            <a:chOff x="915" y="708"/>
            <a:chExt cx="2686" cy="322"/>
          </a:xfrm>
        </p:grpSpPr>
        <p:cxnSp>
          <p:nvCxnSpPr>
            <p:cNvPr id="10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5813" eaLnBrk="1" hangingPunct="1">
                <a:spcAft>
                  <a:spcPct val="0"/>
                </a:spcAft>
                <a:buClrTx/>
                <a:defRPr/>
              </a:pPr>
              <a:r>
                <a:rPr lang="en-US" altLang="zh-TW" sz="1600" dirty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Title</a:t>
              </a:r>
            </a:p>
            <a:p>
              <a:pPr defTabSz="905813" eaLnBrk="1" hangingPunct="1">
                <a:spcAft>
                  <a:spcPct val="0"/>
                </a:spcAft>
                <a:buClrTx/>
                <a:defRPr/>
              </a:pPr>
              <a:r>
                <a:rPr lang="en-US" altLang="zh-TW" sz="1600" b="0" dirty="0">
                  <a:solidFill>
                    <a:srgbClr val="808080"/>
                  </a:solidFill>
                  <a:ea typeface="DFKai-SB" pitchFamily="65" charset="-120"/>
                  <a:cs typeface="Arial" charset="0"/>
                </a:rPr>
                <a:t>Unit of measure</a:t>
              </a:r>
            </a:p>
          </p:txBody>
        </p:sp>
      </p:grpSp>
      <p:sp>
        <p:nvSpPr>
          <p:cNvPr id="12" name="Working Draft" hidden="1"/>
          <p:cNvSpPr txBox="1">
            <a:spLocks noChangeArrowheads="1"/>
          </p:cNvSpPr>
          <p:nvPr/>
        </p:nvSpPr>
        <p:spPr bwMode="auto">
          <a:xfrm rot="5400000">
            <a:off x="8093075" y="2774951"/>
            <a:ext cx="1958975" cy="95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5813" eaLnBrk="1" hangingPunct="1">
              <a:spcAft>
                <a:spcPct val="0"/>
              </a:spcAft>
              <a:buClrTx/>
              <a:defRPr/>
            </a:pPr>
            <a:r>
              <a:rPr lang="en-US" altLang="zh-TW" sz="600" b="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Last Modified 5/30/2014 10:13 AM China Standard Time</a:t>
            </a:r>
            <a:endParaRPr lang="en-US" altLang="zh-TW" sz="1600" b="0" dirty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3" name="Printed" hidden="1"/>
          <p:cNvSpPr txBox="1">
            <a:spLocks noChangeArrowheads="1"/>
          </p:cNvSpPr>
          <p:nvPr/>
        </p:nvSpPr>
        <p:spPr bwMode="auto">
          <a:xfrm rot="5400000">
            <a:off x="8201819" y="3929857"/>
            <a:ext cx="1741487" cy="95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5813" eaLnBrk="1" hangingPunct="1">
              <a:spcAft>
                <a:spcPct val="0"/>
              </a:spcAft>
              <a:buClrTx/>
              <a:defRPr/>
            </a:pPr>
            <a:r>
              <a:rPr lang="en-US" altLang="zh-TW" sz="600" b="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Printed 5/22/2014 10:36 PM China Standard Time</a:t>
            </a:r>
            <a:endParaRPr lang="en-US" altLang="zh-TW" sz="1600" b="0" dirty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4" name="doc id"/>
          <p:cNvSpPr>
            <a:spLocks noChangeArrowheads="1"/>
          </p:cNvSpPr>
          <p:nvPr/>
        </p:nvSpPr>
        <p:spPr bwMode="auto">
          <a:xfrm>
            <a:off x="8247063" y="36513"/>
            <a:ext cx="669925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defRPr/>
            </a:pPr>
            <a:endParaRPr lang="cs-CZ" sz="800" b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graphicFrame>
        <p:nvGraphicFramePr>
          <p:cNvPr id="15" name="物件 1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5" name="物件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0"/>
            <a:ext cx="8793162" cy="338554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6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E83640-ADD6-4009-88CB-CBD1AF6CFB04}" type="slidenum">
              <a:rPr lang="zh-TW" altLang="en-US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257887290"/>
      </p:ext>
    </p:extLst>
  </p:cSld>
  <p:clrMapOvr>
    <a:masterClrMapping/>
  </p:clrMapOvr>
  <p:transition spd="med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標題投影片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8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7" y="0"/>
          <a:ext cx="161985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118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7" y="0"/>
                        <a:ext cx="161985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>
            <a:off x="2693818" y="508626"/>
            <a:ext cx="29661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Last Modified 5/30/2014 10:13 AM China Standard Time</a:t>
            </a: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>
            <a:off x="2693799" y="668970"/>
            <a:ext cx="26406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Printed 5/22/2014 10:36 PM China Standard Time</a:t>
            </a:r>
          </a:p>
        </p:txBody>
      </p:sp>
      <p:sp>
        <p:nvSpPr>
          <p:cNvPr id="7" name="Working Draft Text" hidden="1"/>
          <p:cNvSpPr txBox="1">
            <a:spLocks noChangeArrowheads="1"/>
          </p:cNvSpPr>
          <p:nvPr/>
        </p:nvSpPr>
        <p:spPr bwMode="auto">
          <a:xfrm>
            <a:off x="2693803" y="349891"/>
            <a:ext cx="1025922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WORKING DRAFT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5" y="19"/>
            <a:ext cx="7729879" cy="6859620"/>
            <a:chOff x="0" y="0"/>
            <a:chExt cx="4772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8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6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文件類型</a:t>
              </a:r>
              <a:endParaRPr kumimoji="0" lang="en-US" altLang="zh-TW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6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日期</a:t>
              </a:r>
              <a:endParaRPr kumimoji="0" lang="en-US" altLang="zh-TW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1" name="McK Disclaimer" hidden="1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03275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專屬機密資料</a:t>
              </a:r>
            </a:p>
            <a:p>
              <a:pPr marL="0" marR="0" lvl="0" indent="0" algn="l" defTabSz="803275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未經麥肯錫許可，任何對此資料的使用嚴格禁止</a:t>
              </a:r>
              <a:endParaRPr kumimoji="0" lang="en-US" altLang="zh-TW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6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5000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AU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6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5000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AU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华文楷体" pitchFamily="2" charset="-122"/>
                <a:cs typeface="Arial" charset="0"/>
              </a:endParaRPr>
            </a:p>
          </p:txBody>
        </p:sp>
      </p:grpSp>
      <p:pic>
        <p:nvPicPr>
          <p:cNvPr id="14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5" y="6574749"/>
            <a:ext cx="1670054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doc id"/>
          <p:cNvSpPr>
            <a:spLocks noChangeArrowheads="1"/>
          </p:cNvSpPr>
          <p:nvPr/>
        </p:nvSpPr>
        <p:spPr bwMode="auto">
          <a:xfrm>
            <a:off x="8246616" y="37256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r" defTabSz="8937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DFKai-SB" pitchFamily="65" charset="-120"/>
              <a:cs typeface="Arial" charset="0"/>
            </a:endParaRPr>
          </a:p>
        </p:txBody>
      </p:sp>
      <p:pic>
        <p:nvPicPr>
          <p:cNvPr id="16" name="Picture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3801" y="3790227"/>
            <a:ext cx="6450204" cy="3087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2967"/>
            <a:ext cx="9144000" cy="13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61107" y="3945699"/>
            <a:ext cx="5036085" cy="21982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zh-TW" altLang="en-US" noProof="0"/>
              <a:t>按一下以編輯母片副標題樣式</a:t>
            </a:r>
            <a:endParaRPr lang="en-US" altLang="zh-TW" noProof="0" dirty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61107" y="2177143"/>
            <a:ext cx="5036085" cy="507831"/>
          </a:xfr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zh-TW" altLang="en-US" noProof="0"/>
              <a:t>按一下以編輯母片標題樣式</a:t>
            </a:r>
            <a:endParaRPr lang="en-US" altLang="zh-TW" noProof="0" dirty="0"/>
          </a:p>
        </p:txBody>
      </p:sp>
    </p:spTree>
    <p:extLst>
      <p:ext uri="{BB962C8B-B14F-4D97-AF65-F5344CB8AC3E}">
        <p14:creationId xmlns:p14="http://schemas.microsoft.com/office/powerpoint/2010/main" val="18119473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物件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25" y="173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物件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25" y="173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2162" y="1990668"/>
            <a:ext cx="4389768" cy="1256112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6" name="投影片編號版面配置區 2"/>
          <p:cNvSpPr>
            <a:spLocks noGrp="1"/>
          </p:cNvSpPr>
          <p:nvPr>
            <p:ph type="sldNum" sz="quarter" idx="4"/>
          </p:nvPr>
        </p:nvSpPr>
        <p:spPr>
          <a:xfrm>
            <a:off x="8671415" y="6580382"/>
            <a:ext cx="438779" cy="246217"/>
          </a:xfrm>
          <a:prstGeom prst="rect">
            <a:avLst/>
          </a:prstGeom>
        </p:spPr>
        <p:txBody>
          <a:bodyPr anchor="ctr"/>
          <a:lstStyle>
            <a:lvl1pPr algn="r">
              <a:defRPr sz="1000"/>
            </a:lvl1pPr>
          </a:lstStyle>
          <a:p>
            <a:pPr marL="0" marR="0" lvl="0" indent="0" algn="r" defTabSz="912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64BA75-9870-4AD5-9CA4-6B417ABEE087}" type="slidenum">
              <a:rPr kumimoji="0" lang="zh-TW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pPr marL="0" marR="0" lvl="0" indent="0" algn="r" defTabSz="9128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t> </a:t>
            </a:r>
            <a:endParaRPr kumimoji="0" lang="en-US" altLang="zh-TW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DFKai-SB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167977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79" y="1990667"/>
            <a:ext cx="2117131" cy="2575030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805" y="1990667"/>
            <a:ext cx="2117132" cy="2575030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2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BDB6D9-26EF-48C5-A969-FFC6F5AE4DBD}" type="slidenum">
              <a:rPr kumimoji="0" lang="zh-TW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pPr marL="0" marR="0" lvl="0" indent="0" algn="r" defTabSz="9128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0347966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6" y="275377"/>
            <a:ext cx="8230410" cy="29832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816" y="1912353"/>
            <a:ext cx="403988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07" indent="0">
              <a:buNone/>
              <a:defRPr sz="2000" b="1"/>
            </a:lvl2pPr>
            <a:lvl3pPr marL="913101" indent="0">
              <a:buNone/>
              <a:defRPr sz="1800" b="1"/>
            </a:lvl3pPr>
            <a:lvl4pPr marL="1369663" indent="0">
              <a:buNone/>
              <a:defRPr sz="1600" b="1"/>
            </a:lvl4pPr>
            <a:lvl5pPr marL="1826223" indent="0">
              <a:buNone/>
              <a:defRPr sz="1600" b="1"/>
            </a:lvl5pPr>
            <a:lvl6pPr marL="2282784" indent="0">
              <a:buNone/>
              <a:defRPr sz="1600" b="1"/>
            </a:lvl6pPr>
            <a:lvl7pPr marL="2739343" indent="0">
              <a:buNone/>
              <a:defRPr sz="1600" b="1"/>
            </a:lvl7pPr>
            <a:lvl8pPr marL="3195902" indent="0">
              <a:buNone/>
              <a:defRPr sz="1600" b="1"/>
            </a:lvl8pPr>
            <a:lvl9pPr marL="3652457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816" y="2175318"/>
            <a:ext cx="4039882" cy="14759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05" y="1912353"/>
            <a:ext cx="404150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07" indent="0">
              <a:buNone/>
              <a:defRPr sz="2000" b="1"/>
            </a:lvl2pPr>
            <a:lvl3pPr marL="913101" indent="0">
              <a:buNone/>
              <a:defRPr sz="1800" b="1"/>
            </a:lvl3pPr>
            <a:lvl4pPr marL="1369663" indent="0">
              <a:buNone/>
              <a:defRPr sz="1600" b="1"/>
            </a:lvl4pPr>
            <a:lvl5pPr marL="1826223" indent="0">
              <a:buNone/>
              <a:defRPr sz="1600" b="1"/>
            </a:lvl5pPr>
            <a:lvl6pPr marL="2282784" indent="0">
              <a:buNone/>
              <a:defRPr sz="1600" b="1"/>
            </a:lvl6pPr>
            <a:lvl7pPr marL="2739343" indent="0">
              <a:buNone/>
              <a:defRPr sz="1600" b="1"/>
            </a:lvl7pPr>
            <a:lvl8pPr marL="3195902" indent="0">
              <a:buNone/>
              <a:defRPr sz="1600" b="1"/>
            </a:lvl8pPr>
            <a:lvl9pPr marL="3652457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05" y="2175318"/>
            <a:ext cx="4041502" cy="14759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2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ED650D-3B6A-4CB1-B25D-0F38C10E7C85}" type="slidenum">
              <a:rPr kumimoji="0" lang="zh-TW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pPr marL="0" marR="0" lvl="0" indent="0" algn="r" defTabSz="9128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6648843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9159" y="6227918"/>
            <a:ext cx="199240" cy="155496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2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DBBDF5-E94D-4BE3-93E6-9864C9733258}" type="slidenum">
              <a:rPr kumimoji="0" lang="zh-TW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pPr marL="0" marR="0" lvl="0" indent="0" algn="r" defTabSz="9128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0541641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2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ABD007-652E-45DD-A49A-158DD1E771EE}" type="slidenum">
              <a:rPr kumimoji="0" lang="zh-TW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pPr marL="0" marR="0" lvl="0" indent="0" algn="r" defTabSz="9128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929079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標題投影片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8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1502369"/>
              </p:ext>
            </p:extLst>
          </p:nvPr>
        </p:nvGraphicFramePr>
        <p:xfrm>
          <a:off x="112" y="0"/>
          <a:ext cx="161985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2" y="0"/>
                        <a:ext cx="161985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>
            <a:off x="2693818" y="508627"/>
            <a:ext cx="29661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2696" eaLnBrk="1" hangingPunct="1">
              <a:spcAft>
                <a:spcPct val="0"/>
              </a:spcAft>
              <a:buClrTx/>
              <a:defRPr/>
            </a:pPr>
            <a:r>
              <a:rPr lang="en-US" altLang="zh-TW" sz="900" b="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Last Modified 5/30/2014 10:13 AM China Standard Time</a:t>
            </a: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>
            <a:off x="2693800" y="668970"/>
            <a:ext cx="26406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2696" eaLnBrk="1" hangingPunct="1">
              <a:spcAft>
                <a:spcPct val="0"/>
              </a:spcAft>
              <a:buClrTx/>
              <a:defRPr/>
            </a:pPr>
            <a:r>
              <a:rPr lang="en-US" altLang="zh-TW" sz="900" b="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Printed 5/22/2014 10:36 PM China Standard Time</a:t>
            </a:r>
          </a:p>
        </p:txBody>
      </p:sp>
      <p:sp>
        <p:nvSpPr>
          <p:cNvPr id="7" name="Working Draft Text" hidden="1"/>
          <p:cNvSpPr txBox="1">
            <a:spLocks noChangeArrowheads="1"/>
          </p:cNvSpPr>
          <p:nvPr/>
        </p:nvSpPr>
        <p:spPr bwMode="auto">
          <a:xfrm>
            <a:off x="2693809" y="349892"/>
            <a:ext cx="1025921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2696" eaLnBrk="1" hangingPunct="1">
              <a:spcAft>
                <a:spcPct val="0"/>
              </a:spcAft>
              <a:buClrTx/>
              <a:defRPr/>
            </a:pPr>
            <a:r>
              <a:rPr lang="en-US" altLang="zh-TW" sz="90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WORKING DRAFT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5" y="20"/>
            <a:ext cx="7729879" cy="6859620"/>
            <a:chOff x="0" y="0"/>
            <a:chExt cx="4772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8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2696"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4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文件類型</a:t>
              </a:r>
              <a:endParaRPr lang="en-US" altLang="zh-TW" sz="1400" b="0" dirty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2696"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4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日期</a:t>
              </a:r>
              <a:endParaRPr lang="en-US" altLang="zh-TW" sz="1400" b="0" dirty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1" name="McK Disclaimer" hidden="1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>
                <a:spcAft>
                  <a:spcPct val="0"/>
                </a:spcAft>
                <a:buClrTx/>
                <a:defRPr/>
              </a:pPr>
              <a:r>
                <a:rPr lang="zh-TW" altLang="en-US" sz="8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專屬機密資料</a:t>
              </a:r>
            </a:p>
            <a:p>
              <a:pPr>
                <a:spcAft>
                  <a:spcPct val="0"/>
                </a:spcAft>
                <a:buClrTx/>
                <a:defRPr/>
              </a:pPr>
              <a:r>
                <a:rPr lang="zh-TW" altLang="en-US" sz="8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未經麥肯錫許可，任何對此資料的使用嚴格禁止</a:t>
              </a:r>
              <a:endParaRPr lang="en-US" altLang="zh-TW" sz="800" b="0" dirty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2696" eaLnBrk="1" hangingPunct="1">
                <a:buClr>
                  <a:srgbClr val="000000"/>
                </a:buClr>
                <a:defRPr/>
              </a:pPr>
              <a:endParaRPr lang="en-A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2696" eaLnBrk="1" hangingPunct="1">
                <a:buClr>
                  <a:srgbClr val="000000"/>
                </a:buClr>
                <a:defRPr/>
              </a:pPr>
              <a:endParaRPr lang="en-AU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pic>
        <p:nvPicPr>
          <p:cNvPr id="14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5" y="6574651"/>
            <a:ext cx="1670054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doc id"/>
          <p:cNvSpPr>
            <a:spLocks noChangeArrowheads="1"/>
          </p:cNvSpPr>
          <p:nvPr/>
        </p:nvSpPr>
        <p:spPr bwMode="auto">
          <a:xfrm>
            <a:off x="8246616" y="37258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defRPr/>
            </a:pPr>
            <a:endParaRPr lang="cs-CZ" sz="800" b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pic>
        <p:nvPicPr>
          <p:cNvPr id="16" name="Picture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3802" y="3790248"/>
            <a:ext cx="6450204" cy="3087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2967"/>
            <a:ext cx="9144000" cy="1354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61104" y="3945699"/>
            <a:ext cx="5036084" cy="21982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zh-TW" altLang="en-US" noProof="0"/>
              <a:t>按一下以編輯母片副標題樣式</a:t>
            </a:r>
            <a:endParaRPr lang="en-US" altLang="zh-TW" noProof="0" dirty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61104" y="2177064"/>
            <a:ext cx="5036084" cy="507831"/>
          </a:xfr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zh-TW" altLang="en-US" noProof="0"/>
              <a:t>按一下以編輯母片標題樣式</a:t>
            </a:r>
            <a:endParaRPr lang="en-US" altLang="zh-TW" noProof="0" dirty="0"/>
          </a:p>
        </p:txBody>
      </p:sp>
    </p:spTree>
    <p:extLst>
      <p:ext uri="{BB962C8B-B14F-4D97-AF65-F5344CB8AC3E}">
        <p14:creationId xmlns:p14="http://schemas.microsoft.com/office/powerpoint/2010/main" val="391270438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2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64BA75-9870-4AD5-9CA4-6B417ABEE087}" type="slidenum">
              <a:rPr kumimoji="0" lang="zh-TW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pPr marL="0" marR="0" lvl="0" indent="0" algn="r" defTabSz="9128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570899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物件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25" y="173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物件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25" y="173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1482162" y="1990673"/>
            <a:ext cx="4389768" cy="1256112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xfrm>
            <a:off x="457200" y="6356364"/>
            <a:ext cx="2133600" cy="365125"/>
          </a:xfrm>
          <a:prstGeom prst="rect">
            <a:avLst/>
          </a:prstGeom>
        </p:spPr>
        <p:txBody>
          <a:bodyPr lIns="89564" tIns="44789" rIns="89564" bIns="44789"/>
          <a:lstStyle/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3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DFKai-SB"/>
              <a:cs typeface="+mn-cs"/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xfrm>
            <a:off x="3124201" y="6356364"/>
            <a:ext cx="2895600" cy="365125"/>
          </a:xfrm>
          <a:prstGeom prst="rect">
            <a:avLst/>
          </a:prstGeom>
        </p:spPr>
        <p:txBody>
          <a:bodyPr lIns="89564" tIns="44789" rIns="89564" bIns="44789"/>
          <a:lstStyle/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3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DFKai-SB"/>
              <a:cs typeface="+mn-cs"/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>
            <a:off x="8837451" y="6597373"/>
            <a:ext cx="438779" cy="26064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2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54C28F-F186-4F04-8C4F-E89FEA3EAFC9}" type="slidenum">
              <a:rPr kumimoji="0" lang="zh-TW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pPr marL="0" marR="0" lvl="0" indent="0" algn="r" defTabSz="9128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DFKai-SB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599077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標題投影片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8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7" y="0"/>
          <a:ext cx="161985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118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7" y="0"/>
                        <a:ext cx="161985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>
            <a:off x="2693818" y="508626"/>
            <a:ext cx="29661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Last Modified 5/30/2014 10:13 AM China Standard Time</a:t>
            </a: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>
            <a:off x="2693799" y="668970"/>
            <a:ext cx="2640696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Printed 5/22/2014 10:36 PM China Standard Time</a:t>
            </a:r>
          </a:p>
        </p:txBody>
      </p:sp>
      <p:sp>
        <p:nvSpPr>
          <p:cNvPr id="7" name="Working Draft Text" hidden="1"/>
          <p:cNvSpPr txBox="1">
            <a:spLocks noChangeArrowheads="1"/>
          </p:cNvSpPr>
          <p:nvPr/>
        </p:nvSpPr>
        <p:spPr bwMode="auto">
          <a:xfrm>
            <a:off x="2693803" y="349891"/>
            <a:ext cx="1025922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WORKING DRAFT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5" y="19"/>
            <a:ext cx="7729879" cy="6859620"/>
            <a:chOff x="0" y="0"/>
            <a:chExt cx="4772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8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6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文件類型</a:t>
              </a:r>
              <a:endParaRPr kumimoji="0" lang="en-US" altLang="zh-TW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6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日期</a:t>
              </a:r>
              <a:endParaRPr kumimoji="0" lang="en-US" altLang="zh-TW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1" name="McK Disclaimer" hidden="1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03275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03275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03275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專屬機密資料</a:t>
              </a:r>
            </a:p>
            <a:p>
              <a:pPr marL="0" marR="0" lvl="0" indent="0" algn="l" defTabSz="803275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未經麥肯錫許可，任何對此資料的使用嚴格禁止</a:t>
              </a:r>
              <a:endParaRPr kumimoji="0" lang="en-US" altLang="zh-TW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6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5000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AU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华文楷体" pitchFamily="2" charset="-122"/>
                <a:cs typeface="Arial" charset="0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6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5000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AU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华文楷体" pitchFamily="2" charset="-122"/>
                <a:cs typeface="Arial" charset="0"/>
              </a:endParaRPr>
            </a:p>
          </p:txBody>
        </p:sp>
      </p:grpSp>
      <p:pic>
        <p:nvPicPr>
          <p:cNvPr id="14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5" y="6574749"/>
            <a:ext cx="1670054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doc id"/>
          <p:cNvSpPr>
            <a:spLocks noChangeArrowheads="1"/>
          </p:cNvSpPr>
          <p:nvPr/>
        </p:nvSpPr>
        <p:spPr bwMode="auto">
          <a:xfrm>
            <a:off x="8246616" y="37256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r" defTabSz="8937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DFKai-SB" pitchFamily="65" charset="-120"/>
              <a:cs typeface="Arial" charset="0"/>
            </a:endParaRPr>
          </a:p>
        </p:txBody>
      </p:sp>
      <p:pic>
        <p:nvPicPr>
          <p:cNvPr id="16" name="Picture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3801" y="3790227"/>
            <a:ext cx="6450204" cy="3087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2967"/>
            <a:ext cx="9144000" cy="13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61107" y="3945699"/>
            <a:ext cx="5036085" cy="21982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zh-TW" altLang="en-US" noProof="0"/>
              <a:t>按一下以編輯母片副標題樣式</a:t>
            </a:r>
            <a:endParaRPr lang="en-US" altLang="zh-TW" noProof="0" dirty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61107" y="2177143"/>
            <a:ext cx="5036085" cy="507831"/>
          </a:xfr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zh-TW" altLang="en-US" noProof="0"/>
              <a:t>按一下以編輯母片標題樣式</a:t>
            </a:r>
            <a:endParaRPr lang="en-US" altLang="zh-TW" noProof="0" dirty="0"/>
          </a:p>
        </p:txBody>
      </p:sp>
    </p:spTree>
    <p:extLst>
      <p:ext uri="{BB962C8B-B14F-4D97-AF65-F5344CB8AC3E}">
        <p14:creationId xmlns:p14="http://schemas.microsoft.com/office/powerpoint/2010/main" val="156546505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物件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25" y="173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物件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25" y="173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2162" y="1990668"/>
            <a:ext cx="4389768" cy="1256112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DFA42A-C2E3-43B0-B9E8-C004CEAA189A}" type="slidenum">
              <a:rPr kumimoji="0" lang="zh-TW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0006877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79" y="1990667"/>
            <a:ext cx="2117131" cy="2575030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805" y="1990667"/>
            <a:ext cx="2117132" cy="2575030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ABDB6D9-26EF-48C5-A969-FFC6F5AE4DBD}" type="slidenum">
              <a:rPr kumimoji="0" lang="zh-TW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6147517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6" y="275377"/>
            <a:ext cx="8230410" cy="298327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816" y="1912353"/>
            <a:ext cx="403988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07" indent="0">
              <a:buNone/>
              <a:defRPr sz="2000" b="1"/>
            </a:lvl2pPr>
            <a:lvl3pPr marL="913101" indent="0">
              <a:buNone/>
              <a:defRPr sz="1800" b="1"/>
            </a:lvl3pPr>
            <a:lvl4pPr marL="1369663" indent="0">
              <a:buNone/>
              <a:defRPr sz="1600" b="1"/>
            </a:lvl4pPr>
            <a:lvl5pPr marL="1826223" indent="0">
              <a:buNone/>
              <a:defRPr sz="1600" b="1"/>
            </a:lvl5pPr>
            <a:lvl6pPr marL="2282784" indent="0">
              <a:buNone/>
              <a:defRPr sz="1600" b="1"/>
            </a:lvl6pPr>
            <a:lvl7pPr marL="2739343" indent="0">
              <a:buNone/>
              <a:defRPr sz="1600" b="1"/>
            </a:lvl7pPr>
            <a:lvl8pPr marL="3195902" indent="0">
              <a:buNone/>
              <a:defRPr sz="1600" b="1"/>
            </a:lvl8pPr>
            <a:lvl9pPr marL="3652457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816" y="2175318"/>
            <a:ext cx="4039882" cy="14759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05" y="1912353"/>
            <a:ext cx="404150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07" indent="0">
              <a:buNone/>
              <a:defRPr sz="2000" b="1"/>
            </a:lvl2pPr>
            <a:lvl3pPr marL="913101" indent="0">
              <a:buNone/>
              <a:defRPr sz="1800" b="1"/>
            </a:lvl3pPr>
            <a:lvl4pPr marL="1369663" indent="0">
              <a:buNone/>
              <a:defRPr sz="1600" b="1"/>
            </a:lvl4pPr>
            <a:lvl5pPr marL="1826223" indent="0">
              <a:buNone/>
              <a:defRPr sz="1600" b="1"/>
            </a:lvl5pPr>
            <a:lvl6pPr marL="2282784" indent="0">
              <a:buNone/>
              <a:defRPr sz="1600" b="1"/>
            </a:lvl6pPr>
            <a:lvl7pPr marL="2739343" indent="0">
              <a:buNone/>
              <a:defRPr sz="1600" b="1"/>
            </a:lvl7pPr>
            <a:lvl8pPr marL="3195902" indent="0">
              <a:buNone/>
              <a:defRPr sz="1600" b="1"/>
            </a:lvl8pPr>
            <a:lvl9pPr marL="3652457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05" y="2175318"/>
            <a:ext cx="4041502" cy="14759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A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CED650D-3B6A-4CB1-B25D-0F38C10E7C85}" type="slidenum">
              <a:rPr kumimoji="0" lang="zh-TW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1614802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A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859159" y="6227918"/>
            <a:ext cx="199240" cy="155496"/>
          </a:xfrm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0DBBDF5-E94D-4BE3-93E6-9864C9733258}" type="slidenum">
              <a:rPr kumimoji="0" lang="zh-TW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1267611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BABD007-652E-45DD-A49A-158DD1E771EE}" type="slidenum">
              <a:rPr kumimoji="0" lang="zh-TW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6118304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664BA75-9870-4AD5-9CA4-6B417ABEE087}" type="slidenum">
              <a:rPr kumimoji="0" lang="zh-TW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859341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物件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25" y="173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物件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25" y="173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1482162" y="1990673"/>
            <a:ext cx="4389768" cy="1256112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xfrm>
            <a:off x="457200" y="6356364"/>
            <a:ext cx="2133600" cy="365125"/>
          </a:xfrm>
          <a:prstGeom prst="rect">
            <a:avLst/>
          </a:prstGeom>
        </p:spPr>
        <p:txBody>
          <a:bodyPr lIns="89564" tIns="44789" rIns="89564" bIns="44789"/>
          <a:lstStyle/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3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DFKai-SB"/>
              <a:cs typeface="+mn-cs"/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xfrm>
            <a:off x="3124201" y="6356364"/>
            <a:ext cx="2895600" cy="365125"/>
          </a:xfrm>
          <a:prstGeom prst="rect">
            <a:avLst/>
          </a:prstGeom>
        </p:spPr>
        <p:txBody>
          <a:bodyPr lIns="89564" tIns="44789" rIns="89564" bIns="44789"/>
          <a:lstStyle/>
          <a:p>
            <a:pPr marL="0" marR="0" lvl="0" indent="0" algn="l" defTabSz="8956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3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DFKai-SB"/>
              <a:cs typeface="+mn-cs"/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454C28F-F186-4F04-8C4F-E89FEA3EAFC9}" type="slidenum">
              <a:rPr kumimoji="0" lang="zh-TW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TW" alt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34024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heme" Target="../theme/theme10.xml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77.xml"/><Relationship Id="rId10" Type="http://schemas.openxmlformats.org/officeDocument/2006/relationships/oleObject" Target="../embeddings/oleObject45.bin"/><Relationship Id="rId4" Type="http://schemas.openxmlformats.org/officeDocument/2006/relationships/slideLayout" Target="../slideLayouts/slideLayout76.xml"/><Relationship Id="rId9" Type="http://schemas.openxmlformats.org/officeDocument/2006/relationships/tags" Target="../tags/tag55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2.xml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image" Target="../media/image8.jpeg"/><Relationship Id="rId5" Type="http://schemas.openxmlformats.org/officeDocument/2006/relationships/theme" Target="../theme/theme11.xml"/><Relationship Id="rId4" Type="http://schemas.openxmlformats.org/officeDocument/2006/relationships/slideLayout" Target="../slideLayouts/slideLayout83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oleObject" Target="../embeddings/oleObject49.bin"/><Relationship Id="rId5" Type="http://schemas.openxmlformats.org/officeDocument/2006/relationships/slideLayout" Target="../slideLayouts/slideLayout88.xml"/><Relationship Id="rId10" Type="http://schemas.openxmlformats.org/officeDocument/2006/relationships/tags" Target="../tags/tag60.xml"/><Relationship Id="rId4" Type="http://schemas.openxmlformats.org/officeDocument/2006/relationships/slideLayout" Target="../slideLayouts/slideLayout87.xml"/><Relationship Id="rId9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3" Type="http://schemas.openxmlformats.org/officeDocument/2006/relationships/slideLayout" Target="../slideLayouts/slideLayout94.xml"/><Relationship Id="rId7" Type="http://schemas.openxmlformats.org/officeDocument/2006/relationships/slideLayout" Target="../slideLayouts/slideLayout98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oleObject" Target="../embeddings/oleObject53.bin"/><Relationship Id="rId5" Type="http://schemas.openxmlformats.org/officeDocument/2006/relationships/slideLayout" Target="../slideLayouts/slideLayout96.xml"/><Relationship Id="rId10" Type="http://schemas.openxmlformats.org/officeDocument/2006/relationships/tags" Target="../tags/tag65.xml"/><Relationship Id="rId4" Type="http://schemas.openxmlformats.org/officeDocument/2006/relationships/slideLayout" Target="../slideLayouts/slideLayout95.xml"/><Relationship Id="rId9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oleObject" Target="../embeddings/oleObject57.bin"/><Relationship Id="rId5" Type="http://schemas.openxmlformats.org/officeDocument/2006/relationships/slideLayout" Target="../slideLayouts/slideLayout104.xml"/><Relationship Id="rId10" Type="http://schemas.openxmlformats.org/officeDocument/2006/relationships/tags" Target="../tags/tag70.xml"/><Relationship Id="rId4" Type="http://schemas.openxmlformats.org/officeDocument/2006/relationships/slideLayout" Target="../slideLayouts/slideLayout103.xml"/><Relationship Id="rId9" Type="http://schemas.openxmlformats.org/officeDocument/2006/relationships/theme" Target="../theme/theme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oleObject" Target="../embeddings/oleObject5.bin"/><Relationship Id="rId5" Type="http://schemas.openxmlformats.org/officeDocument/2006/relationships/slideLayout" Target="../slideLayouts/slideLayout13.xml"/><Relationship Id="rId10" Type="http://schemas.openxmlformats.org/officeDocument/2006/relationships/tags" Target="../tags/tag7.xml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oleObject" Target="../embeddings/oleObject11.bin"/><Relationship Id="rId5" Type="http://schemas.openxmlformats.org/officeDocument/2006/relationships/slideLayout" Target="../slideLayouts/slideLayout21.xml"/><Relationship Id="rId10" Type="http://schemas.openxmlformats.org/officeDocument/2006/relationships/tags" Target="../tags/tag14.xml"/><Relationship Id="rId4" Type="http://schemas.openxmlformats.org/officeDocument/2006/relationships/slideLayout" Target="../slideLayouts/slideLayout20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oleObject" Target="../embeddings/oleObject17.bin"/><Relationship Id="rId5" Type="http://schemas.openxmlformats.org/officeDocument/2006/relationships/slideLayout" Target="../slideLayouts/slideLayout29.xml"/><Relationship Id="rId10" Type="http://schemas.openxmlformats.org/officeDocument/2006/relationships/tags" Target="../tags/tag21.xml"/><Relationship Id="rId4" Type="http://schemas.openxmlformats.org/officeDocument/2006/relationships/slideLayout" Target="../slideLayouts/slideLayout28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oleObject" Target="../embeddings/oleObject23.bin"/><Relationship Id="rId5" Type="http://schemas.openxmlformats.org/officeDocument/2006/relationships/slideLayout" Target="../slideLayouts/slideLayout37.xml"/><Relationship Id="rId10" Type="http://schemas.openxmlformats.org/officeDocument/2006/relationships/tags" Target="../tags/tag28.xml"/><Relationship Id="rId4" Type="http://schemas.openxmlformats.org/officeDocument/2006/relationships/slideLayout" Target="../slideLayouts/slideLayout36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oleObject" Target="../embeddings/oleObject29.bin"/><Relationship Id="rId5" Type="http://schemas.openxmlformats.org/officeDocument/2006/relationships/slideLayout" Target="../slideLayouts/slideLayout45.xml"/><Relationship Id="rId10" Type="http://schemas.openxmlformats.org/officeDocument/2006/relationships/tags" Target="../tags/tag35.xml"/><Relationship Id="rId4" Type="http://schemas.openxmlformats.org/officeDocument/2006/relationships/slideLayout" Target="../slideLayouts/slideLayout44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oleObject" Target="../embeddings/oleObject33.bin"/><Relationship Id="rId5" Type="http://schemas.openxmlformats.org/officeDocument/2006/relationships/slideLayout" Target="../slideLayouts/slideLayout53.xml"/><Relationship Id="rId10" Type="http://schemas.openxmlformats.org/officeDocument/2006/relationships/tags" Target="../tags/tag40.xml"/><Relationship Id="rId4" Type="http://schemas.openxmlformats.org/officeDocument/2006/relationships/slideLayout" Target="../slideLayouts/slideLayout52.xml"/><Relationship Id="rId9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oleObject" Target="../embeddings/oleObject37.bin"/><Relationship Id="rId5" Type="http://schemas.openxmlformats.org/officeDocument/2006/relationships/slideLayout" Target="../slideLayouts/slideLayout61.xml"/><Relationship Id="rId10" Type="http://schemas.openxmlformats.org/officeDocument/2006/relationships/tags" Target="../tags/tag45.xml"/><Relationship Id="rId4" Type="http://schemas.openxmlformats.org/officeDocument/2006/relationships/slideLayout" Target="../slideLayouts/slideLayout60.xml"/><Relationship Id="rId9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oleObject" Target="../embeddings/oleObject41.bin"/><Relationship Id="rId5" Type="http://schemas.openxmlformats.org/officeDocument/2006/relationships/slideLayout" Target="../slideLayouts/slideLayout69.xml"/><Relationship Id="rId10" Type="http://schemas.openxmlformats.org/officeDocument/2006/relationships/tags" Target="../tags/tag50.xml"/><Relationship Id="rId4" Type="http://schemas.openxmlformats.org/officeDocument/2006/relationships/slideLayout" Target="../slideLayouts/slideLayout68.xml"/><Relationship Id="rId9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060632901"/>
              </p:ext>
            </p:extLst>
          </p:nvPr>
        </p:nvGraphicFramePr>
        <p:xfrm>
          <a:off x="1823" y="18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23" y="1823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679" y="234892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TW" altLang="en-US" dirty="0"/>
              <a:t>按一下以編輯母片標題樣式</a:t>
            </a:r>
            <a:endParaRPr lang="en-US" altLang="zh-TW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2" y="1990688"/>
            <a:ext cx="4389768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TW"/>
              <a:t>Text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121495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705" eaLnBrk="1" hangingPunct="1">
              <a:spcAft>
                <a:spcPct val="0"/>
              </a:spcAft>
              <a:buClrTx/>
              <a:defRPr/>
            </a:pPr>
            <a:r>
              <a:rPr lang="en-US" altLang="zh-TW" sz="1400" b="0" dirty="0">
                <a:solidFill>
                  <a:srgbClr val="808080"/>
                </a:solidFill>
                <a:ea typeface="DFKai-SB" pitchFamily="65" charset="-120"/>
                <a:cs typeface="Arial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373049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altLang="zh-TW" sz="14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3" name="McK Slide Elements"/>
          <p:cNvGrpSpPr>
            <a:grpSpLocks/>
          </p:cNvGrpSpPr>
          <p:nvPr/>
        </p:nvGrpSpPr>
        <p:grpSpPr bwMode="auto">
          <a:xfrm>
            <a:off x="121510" y="6202008"/>
            <a:ext cx="8722839" cy="521558"/>
            <a:chOff x="75" y="3829"/>
            <a:chExt cx="5385" cy="322"/>
          </a:xfrm>
        </p:grpSpPr>
        <p:sp>
          <p:nvSpPr>
            <p:cNvPr id="1151" name="McK 4. Footnote" hidden="1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altLang="zh-TW" sz="1000" dirty="0">
                  <a:solidFill>
                    <a:srgbClr val="000000"/>
                  </a:solidFill>
                </a:rPr>
                <a:t>1 </a:t>
              </a:r>
              <a:r>
                <a:rPr lang="zh-TW" altLang="en-US" sz="1000" dirty="0">
                  <a:solidFill>
                    <a:srgbClr val="000000"/>
                  </a:solidFill>
                </a:rPr>
                <a:t>註釋</a:t>
              </a:r>
              <a:endParaRPr lang="en-US" altLang="zh-TW" sz="1000" dirty="0">
                <a:solidFill>
                  <a:srgbClr val="000000"/>
                </a:solidFill>
              </a:endParaRPr>
            </a:p>
          </p:txBody>
        </p:sp>
        <p:sp>
          <p:nvSpPr>
            <p:cNvPr id="1041" name="McK 5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31825" indent="-631825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0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資料來源：</a:t>
              </a:r>
              <a:endParaRPr lang="en-US" altLang="zh-TW" sz="1000" b="0" dirty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</p:grpSp>
      <p:grpSp>
        <p:nvGrpSpPr>
          <p:cNvPr id="1033" name="ACET" hidden="1"/>
          <p:cNvGrpSpPr>
            <a:grpSpLocks/>
          </p:cNvGrpSpPr>
          <p:nvPr/>
        </p:nvGrpSpPr>
        <p:grpSpPr bwMode="auto">
          <a:xfrm>
            <a:off x="1482162" y="1158130"/>
            <a:ext cx="4350890" cy="510219"/>
            <a:chOff x="915" y="715"/>
            <a:chExt cx="2686" cy="315"/>
          </a:xfrm>
        </p:grpSpPr>
        <p:cxnSp>
          <p:nvCxnSpPr>
            <p:cNvPr id="1038" name="AutoShape 249" hidden="1"/>
            <p:cNvCxnSpPr>
              <a:cxnSpLocks noChangeShapeType="1"/>
              <a:stCxn id="1039" idx="4"/>
              <a:endCxn id="103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39" name="AutoShape 250" hidden="1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705" eaLnBrk="1" hangingPunct="1">
                <a:spcAft>
                  <a:spcPct val="0"/>
                </a:spcAft>
                <a:buClrTx/>
                <a:defRPr/>
              </a:pPr>
              <a:r>
                <a:rPr lang="en-US" altLang="zh-TW" sz="1600" dirty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Title</a:t>
              </a:r>
            </a:p>
            <a:p>
              <a:pPr defTabSz="895705" eaLnBrk="1" hangingPunct="1">
                <a:spcAft>
                  <a:spcPct val="0"/>
                </a:spcAft>
                <a:buClrTx/>
                <a:defRPr/>
              </a:pPr>
              <a:r>
                <a:rPr lang="en-US" altLang="zh-TW" sz="1600" b="0" dirty="0">
                  <a:solidFill>
                    <a:srgbClr val="808080"/>
                  </a:solidFill>
                  <a:ea typeface="DFKai-SB" pitchFamily="65" charset="-120"/>
                  <a:cs typeface="Arial" charset="0"/>
                </a:rPr>
                <a:t>Unit of measure</a:t>
              </a: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08521" y="2776264"/>
            <a:ext cx="192841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705" eaLnBrk="1" hangingPunct="1">
              <a:spcAft>
                <a:spcPct val="0"/>
              </a:spcAft>
              <a:buClrTx/>
              <a:defRPr/>
            </a:pPr>
            <a:r>
              <a:rPr lang="en-US" altLang="zh-TW" sz="600" b="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Last Modified 5/30/2014 10:13 AM China Standard Time</a:t>
            </a:r>
            <a:endParaRPr lang="en-US" altLang="zh-TW" sz="1600" b="0" dirty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16110" y="3931132"/>
            <a:ext cx="171361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705" eaLnBrk="1" hangingPunct="1">
              <a:spcAft>
                <a:spcPct val="0"/>
              </a:spcAft>
              <a:buClrTx/>
              <a:defRPr/>
            </a:pPr>
            <a:r>
              <a:rPr lang="en-US" altLang="zh-TW" sz="600" b="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Printed 5/22/2014 10:36 PM China Standard Time</a:t>
            </a:r>
            <a:endParaRPr lang="en-US" altLang="zh-TW" sz="1600" b="0" dirty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036" name="doc id"/>
          <p:cNvSpPr>
            <a:spLocks noChangeArrowheads="1"/>
          </p:cNvSpPr>
          <p:nvPr/>
        </p:nvSpPr>
        <p:spPr bwMode="auto">
          <a:xfrm>
            <a:off x="8246616" y="37256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defRPr/>
            </a:pPr>
            <a:endParaRPr lang="cs-CZ" sz="800" b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7" name="投影片編號版面配置區 2"/>
          <p:cNvSpPr>
            <a:spLocks noGrp="1"/>
          </p:cNvSpPr>
          <p:nvPr>
            <p:ph type="sldNum" sz="quarter" idx="4"/>
          </p:nvPr>
        </p:nvSpPr>
        <p:spPr>
          <a:xfrm>
            <a:off x="8671415" y="6580382"/>
            <a:ext cx="438779" cy="246217"/>
          </a:xfrm>
          <a:prstGeom prst="rect">
            <a:avLst/>
          </a:prstGeom>
        </p:spPr>
        <p:txBody>
          <a:bodyPr anchor="ctr"/>
          <a:lstStyle>
            <a:lvl1pPr algn="r">
              <a:defRPr sz="1000"/>
            </a:lvl1pPr>
          </a:lstStyle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/>
              <a:t> 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941307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hf hdr="0" ftr="0" dt="0"/>
  <p:txStyles>
    <p:titleStyle>
      <a:lvl1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微軟正黑體" panose="020B0604030504040204" pitchFamily="34" charset="-120"/>
          <a:ea typeface="微軟正黑體" panose="020B0604030504040204" pitchFamily="34" charset="-120"/>
          <a:cs typeface="+mj-cs"/>
        </a:defRPr>
      </a:lvl1pPr>
      <a:lvl2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2pPr>
      <a:lvl3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3pPr>
      <a:lvl4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4pPr>
      <a:lvl5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5pPr>
      <a:lvl6pPr marL="456556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6pPr>
      <a:lvl7pPr marL="913198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7pPr>
      <a:lvl8pPr marL="1369808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8pPr>
      <a:lvl9pPr marL="1826417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9pPr>
    </p:titleStyle>
    <p:bodyStyle>
      <a:lvl1pPr marL="342529" indent="-342529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1884" indent="-190295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+mn-ea"/>
        </a:defRPr>
      </a:lvl2pPr>
      <a:lvl3pPr marL="455070" indent="-260072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</a:defRPr>
      </a:lvl3pPr>
      <a:lvl4pPr marL="612109" indent="-153807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+mn-ea"/>
        </a:defRPr>
      </a:lvl4pPr>
      <a:lvl5pPr marL="743726" indent="-128457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5pPr>
      <a:lvl6pPr marL="1201761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1658369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2114984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2571586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56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198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08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17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23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632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241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846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51097765"/>
              </p:ext>
            </p:extLst>
          </p:nvPr>
        </p:nvGraphicFramePr>
        <p:xfrm>
          <a:off x="1718" y="1718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18" y="1718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587" y="234890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TW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1" y="1990687"/>
            <a:ext cx="4389768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TW"/>
              <a:t>Text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121495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5717" eaLnBrk="1" fontAlgn="base" hangingPunct="1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altLang="zh-TW" sz="1400" b="0" dirty="0">
                <a:solidFill>
                  <a:srgbClr val="808080"/>
                </a:solidFill>
                <a:ea typeface="DFKai-SB" pitchFamily="65" charset="-120"/>
                <a:cs typeface="Arial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373049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defRPr/>
            </a:pPr>
            <a:r>
              <a:rPr lang="en-US" altLang="zh-TW" sz="14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3" name="McK Slide Elements"/>
          <p:cNvGrpSpPr>
            <a:grpSpLocks/>
          </p:cNvGrpSpPr>
          <p:nvPr/>
        </p:nvGrpSpPr>
        <p:grpSpPr bwMode="auto">
          <a:xfrm>
            <a:off x="121501" y="6202008"/>
            <a:ext cx="8722839" cy="521558"/>
            <a:chOff x="75" y="3829"/>
            <a:chExt cx="5385" cy="322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defRPr/>
              </a:pPr>
              <a:r>
                <a:rPr lang="en-US" altLang="zh-TW" sz="1000" dirty="0">
                  <a:solidFill>
                    <a:srgbClr val="000000"/>
                  </a:solidFill>
                </a:rPr>
                <a:t>1 </a:t>
              </a:r>
              <a:r>
                <a:rPr lang="zh-TW" altLang="en-US" sz="1000" dirty="0">
                  <a:solidFill>
                    <a:srgbClr val="000000"/>
                  </a:solidFill>
                </a:rPr>
                <a:t>註釋</a:t>
              </a:r>
              <a:endParaRPr lang="en-US" altLang="zh-TW" sz="1000" dirty="0">
                <a:solidFill>
                  <a:srgbClr val="000000"/>
                </a:solidFill>
              </a:endParaRPr>
            </a:p>
          </p:txBody>
        </p:sp>
        <p:sp>
          <p:nvSpPr>
            <p:cNvPr id="1041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31825" indent="-631825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r>
                <a:rPr lang="zh-TW" altLang="en-US" sz="10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資料來源：</a:t>
              </a:r>
              <a:endParaRPr lang="en-US" altLang="zh-TW" sz="1000" b="0" dirty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</p:grpSp>
      <p:grpSp>
        <p:nvGrpSpPr>
          <p:cNvPr id="1033" name="ACET" hidden="1"/>
          <p:cNvGrpSpPr>
            <a:grpSpLocks/>
          </p:cNvGrpSpPr>
          <p:nvPr/>
        </p:nvGrpSpPr>
        <p:grpSpPr bwMode="auto">
          <a:xfrm>
            <a:off x="1482162" y="1146778"/>
            <a:ext cx="4350890" cy="521557"/>
            <a:chOff x="915" y="708"/>
            <a:chExt cx="2686" cy="322"/>
          </a:xfrm>
        </p:grpSpPr>
        <p:cxnSp>
          <p:nvCxnSpPr>
            <p:cNvPr id="1038" name="AutoShape 249" hidden="1"/>
            <p:cNvCxnSpPr>
              <a:cxnSpLocks noChangeShapeType="1"/>
              <a:stCxn id="1039" idx="4"/>
              <a:endCxn id="103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39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5717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r>
                <a:rPr lang="en-US" altLang="zh-TW" sz="1600" dirty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Title</a:t>
              </a:r>
            </a:p>
            <a:p>
              <a:pPr defTabSz="905717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r>
                <a:rPr lang="en-US" altLang="zh-TW" sz="1600" b="0" dirty="0">
                  <a:solidFill>
                    <a:srgbClr val="808080"/>
                  </a:solidFill>
                  <a:ea typeface="DFKai-SB" pitchFamily="65" charset="-120"/>
                  <a:cs typeface="Arial" charset="0"/>
                </a:rPr>
                <a:t>Unit of measure</a:t>
              </a: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88937" y="2775310"/>
            <a:ext cx="1967582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5717" eaLnBrk="1" fontAlgn="base" hangingPunct="1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altLang="zh-TW" sz="600" b="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Last Modified 5/30/2014 10:13 AM China Standard Time</a:t>
            </a:r>
            <a:endParaRPr lang="en-US" altLang="zh-TW" sz="1600" b="0" dirty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198616" y="3930178"/>
            <a:ext cx="1748417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5717" eaLnBrk="1" fontAlgn="base" hangingPunct="1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altLang="zh-TW" sz="600" b="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Printed 5/22/2014 10:36 PM China Standard Time</a:t>
            </a:r>
            <a:endParaRPr lang="en-US" altLang="zh-TW" sz="1600" b="0" dirty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036" name="doc id"/>
          <p:cNvSpPr>
            <a:spLocks noChangeArrowheads="1"/>
          </p:cNvSpPr>
          <p:nvPr/>
        </p:nvSpPr>
        <p:spPr bwMode="auto">
          <a:xfrm>
            <a:off x="8246616" y="37256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cs-CZ" sz="800" b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7" name="投影片編號版面配置區 2"/>
          <p:cNvSpPr>
            <a:spLocks noGrp="1"/>
          </p:cNvSpPr>
          <p:nvPr>
            <p:ph type="sldNum" sz="quarter" idx="4"/>
          </p:nvPr>
        </p:nvSpPr>
        <p:spPr>
          <a:xfrm>
            <a:off x="8671415" y="6580382"/>
            <a:ext cx="438779" cy="246217"/>
          </a:xfrm>
          <a:prstGeom prst="rect">
            <a:avLst/>
          </a:prstGeom>
        </p:spPr>
        <p:txBody>
          <a:bodyPr anchor="ctr"/>
          <a:lstStyle>
            <a:lvl1pPr algn="r">
              <a:defRPr sz="1000"/>
            </a:lvl1pPr>
          </a:lstStyle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/>
              <a:t> 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770472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</p:sldLayoutIdLst>
  <p:hf hdr="0" ftr="0" dt="0"/>
  <p:txStyles>
    <p:titleStyle>
      <a:lvl1pPr algn="l" defTabSz="902769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02769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2pPr>
      <a:lvl3pPr algn="l" defTabSz="902769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3pPr>
      <a:lvl4pPr algn="l" defTabSz="902769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4pPr>
      <a:lvl5pPr algn="l" defTabSz="902769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5pPr>
      <a:lvl6pPr marL="461664" algn="l" defTabSz="90418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6pPr>
      <a:lvl7pPr marL="923411" algn="l" defTabSz="90418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7pPr>
      <a:lvl8pPr marL="1385127" algn="l" defTabSz="90418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8pPr>
      <a:lvl9pPr marL="1846834" algn="l" defTabSz="90418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9pPr>
    </p:titleStyle>
    <p:bodyStyle>
      <a:lvl1pPr marL="346355" indent="-346355" algn="l" defTabSz="902769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4026" indent="-192421" algn="l" defTabSz="902769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+mn-ea"/>
        </a:defRPr>
      </a:lvl2pPr>
      <a:lvl3pPr marL="460175" indent="-262976" algn="l" defTabSz="902769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</a:defRPr>
      </a:lvl3pPr>
      <a:lvl4pPr marL="618948" indent="-155531" algn="l" defTabSz="902769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+mn-ea"/>
        </a:defRPr>
      </a:lvl4pPr>
      <a:lvl5pPr marL="752042" indent="-129884" algn="l" defTabSz="902769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5pPr>
      <a:lvl6pPr marL="1215196" indent="-131460" algn="l" defTabSz="90418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1676902" indent="-131460" algn="l" defTabSz="90418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2138614" indent="-131460" algn="l" defTabSz="90418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2600324" indent="-131460" algn="l" defTabSz="90418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23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1664" algn="l" defTabSz="923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3411" algn="l" defTabSz="923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85127" algn="l" defTabSz="923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46834" algn="l" defTabSz="923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8545" algn="l" defTabSz="923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70253" algn="l" defTabSz="923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31962" algn="l" defTabSz="923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93672" algn="l" defTabSz="923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PT_封底-總院.jpe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1027" name="Shape 3"/>
          <p:cNvSpPr>
            <a:spLocks noGrp="1"/>
          </p:cNvSpPr>
          <p:nvPr>
            <p:ph type="sldNum" sz="quarter" idx="2"/>
          </p:nvPr>
        </p:nvSpPr>
        <p:spPr bwMode="auto">
          <a:xfrm>
            <a:off x="6553200" y="6245225"/>
            <a:ext cx="21336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wrap="square" lIns="45718" tIns="45718" rIns="45718" bIns="45718" numCol="1" anchor="t" anchorCtr="0" compatLnSpc="1">
            <a:prstTxWarp prst="textNoShape">
              <a:avLst/>
            </a:prstTxWarp>
            <a:spAutoFit/>
          </a:bodyPr>
          <a:lstStyle>
            <a:lvl1pPr algn="r" eaLnBrk="1" hangingPunct="1">
              <a:defRPr kumimoji="0">
                <a:solidFill>
                  <a:srgbClr val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86780AEF-FB15-418D-B505-4403DE2B3B76}" type="slidenum">
              <a:rPr lang="zh-TW" altLang="zh-TW" smtClean="0">
                <a:sym typeface="Helvetica" panose="020B0604020202020204" pitchFamily="34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zh-TW" altLang="zh-TW">
              <a:sym typeface="Helvetica" panose="020B0604020202020204" pitchFamily="34" charset="0"/>
            </a:endParaRPr>
          </a:p>
        </p:txBody>
      </p:sp>
      <p:sp>
        <p:nvSpPr>
          <p:cNvPr id="1028" name="Shape 4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325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wrap="square" lIns="45718" tIns="45718" rIns="45718" bIns="45718" numCol="1" anchor="t" anchorCtr="0" compatLnSpc="1">
            <a:prstTxWarp prst="textNoShape">
              <a:avLst/>
            </a:prstTxWarp>
          </a:bodyPr>
          <a:lstStyle/>
          <a:p>
            <a:pPr lvl="0"/>
            <a:endParaRPr lang="zh-TW" altLang="zh-TW">
              <a:sym typeface="Helvetica" panose="020B0604020202020204" pitchFamily="34" charset="0"/>
            </a:endParaRPr>
          </a:p>
        </p:txBody>
      </p:sp>
      <p:sp>
        <p:nvSpPr>
          <p:cNvPr id="1029" name="Shape 5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525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wrap="square" lIns="45718" tIns="45718" rIns="45718" bIns="45718" numCol="1" anchor="t" anchorCtr="0" compatLnSpc="1">
            <a:prstTxWarp prst="textNoShape">
              <a:avLst/>
            </a:prstTxWarp>
          </a:bodyPr>
          <a:lstStyle/>
          <a:p>
            <a:pPr lvl="0"/>
            <a:endParaRPr lang="zh-TW" altLang="zh-TW" dirty="0">
              <a:sym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31128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83" r:id="rId3"/>
    <p:sldLayoutId id="2147483820" r:id="rId4"/>
  </p:sldLayoutIdLst>
  <p:transition spd="med"/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微軟正黑體" panose="020B0604030504040204" pitchFamily="34" charset="-120"/>
          <a:ea typeface="微軟正黑體" panose="020B0604030504040204" pitchFamily="34" charset="-120"/>
          <a:cs typeface="+mn-cs"/>
          <a:sym typeface="Helvetica" panose="020B0604020202020204" pitchFamily="34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+mn-ea"/>
          <a:cs typeface="+mn-cs"/>
          <a:sym typeface="Helvetica" panose="020B0604020202020204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+mn-ea"/>
          <a:cs typeface="+mn-cs"/>
          <a:sym typeface="Helvetica" panose="020B0604020202020204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+mn-ea"/>
          <a:cs typeface="+mn-cs"/>
          <a:sym typeface="Helvetica" panose="020B0604020202020204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+mn-ea"/>
          <a:cs typeface="+mn-cs"/>
          <a:sym typeface="Helvetica" panose="020B0604020202020204" pitchFamily="34" charset="0"/>
        </a:defRPr>
      </a:lvl5pPr>
      <a:lvl6pPr indent="457200" defTabSz="457200">
        <a:defRPr sz="1200">
          <a:latin typeface="+mn-lt"/>
          <a:ea typeface="+mn-ea"/>
          <a:cs typeface="+mn-cs"/>
          <a:sym typeface="Helvetica"/>
        </a:defRPr>
      </a:lvl6pPr>
      <a:lvl7pPr indent="914400" defTabSz="457200">
        <a:defRPr sz="1200">
          <a:latin typeface="+mn-lt"/>
          <a:ea typeface="+mn-ea"/>
          <a:cs typeface="+mn-cs"/>
          <a:sym typeface="Helvetica"/>
        </a:defRPr>
      </a:lvl7pPr>
      <a:lvl8pPr indent="1371600" defTabSz="457200">
        <a:defRPr sz="1200">
          <a:latin typeface="+mn-lt"/>
          <a:ea typeface="+mn-ea"/>
          <a:cs typeface="+mn-cs"/>
          <a:sym typeface="Helvetica"/>
        </a:defRPr>
      </a:lvl8pPr>
      <a:lvl9pPr indent="1828800" defTabSz="457200">
        <a:defRPr sz="1200">
          <a:latin typeface="+mn-lt"/>
          <a:ea typeface="+mn-ea"/>
          <a:cs typeface="+mn-cs"/>
          <a:sym typeface="Helvetica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微軟正黑體" panose="020B0604030504040204" pitchFamily="34" charset="-120"/>
          <a:ea typeface="微軟正黑體" panose="020B0604030504040204" pitchFamily="34" charset="-120"/>
          <a:cs typeface="+mn-cs"/>
          <a:sym typeface="Helvetica" panose="020B0604020202020204" pitchFamily="34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  <a:ea typeface="+mn-ea"/>
          <a:cs typeface="+mn-cs"/>
          <a:sym typeface="Helvetica" panose="020B0604020202020204" pitchFamily="34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+mn-ea"/>
          <a:cs typeface="+mn-cs"/>
          <a:sym typeface="Helvetica" panose="020B0604020202020204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  <a:ea typeface="+mn-ea"/>
          <a:cs typeface="+mn-cs"/>
          <a:sym typeface="Helvetica" panose="020B0604020202020204" pitchFamily="34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  <a:ea typeface="+mn-ea"/>
          <a:cs typeface="+mn-cs"/>
          <a:sym typeface="Helvetica" panose="020B0604020202020204" pitchFamily="34" charset="0"/>
        </a:defRPr>
      </a:lvl5pPr>
      <a:lvl6pPr indent="457200" defTabSz="457200">
        <a:defRPr sz="1200">
          <a:latin typeface="+mn-lt"/>
          <a:ea typeface="+mn-ea"/>
          <a:cs typeface="+mn-cs"/>
          <a:sym typeface="Helvetica"/>
        </a:defRPr>
      </a:lvl6pPr>
      <a:lvl7pPr indent="914400" defTabSz="457200">
        <a:defRPr sz="1200">
          <a:latin typeface="+mn-lt"/>
          <a:ea typeface="+mn-ea"/>
          <a:cs typeface="+mn-cs"/>
          <a:sym typeface="Helvetica"/>
        </a:defRPr>
      </a:lvl7pPr>
      <a:lvl8pPr indent="1371600" defTabSz="457200">
        <a:defRPr sz="1200">
          <a:latin typeface="+mn-lt"/>
          <a:ea typeface="+mn-ea"/>
          <a:cs typeface="+mn-cs"/>
          <a:sym typeface="Helvetica"/>
        </a:defRPr>
      </a:lvl8pPr>
      <a:lvl9pPr indent="1828800" defTabSz="457200">
        <a:defRPr sz="1200">
          <a:latin typeface="+mn-lt"/>
          <a:ea typeface="+mn-ea"/>
          <a:cs typeface="+mn-cs"/>
          <a:sym typeface="Helvetica"/>
        </a:defRPr>
      </a:lvl9pPr>
    </p:bodyStyle>
    <p:otherStyle>
      <a:lvl1pPr algn="r">
        <a:defRPr>
          <a:solidFill>
            <a:schemeClr val="tx1"/>
          </a:solidFill>
          <a:latin typeface="+mn-lt"/>
          <a:ea typeface="+mn-ea"/>
          <a:cs typeface="+mn-cs"/>
          <a:sym typeface="Helvetica"/>
        </a:defRPr>
      </a:lvl1pPr>
      <a:lvl2pPr algn="r">
        <a:defRPr>
          <a:solidFill>
            <a:schemeClr val="tx1"/>
          </a:solidFill>
          <a:latin typeface="+mn-lt"/>
          <a:ea typeface="+mn-ea"/>
          <a:cs typeface="+mn-cs"/>
          <a:sym typeface="Helvetica"/>
        </a:defRPr>
      </a:lvl2pPr>
      <a:lvl3pPr algn="r">
        <a:defRPr>
          <a:solidFill>
            <a:schemeClr val="tx1"/>
          </a:solidFill>
          <a:latin typeface="+mn-lt"/>
          <a:ea typeface="+mn-ea"/>
          <a:cs typeface="+mn-cs"/>
          <a:sym typeface="Helvetica"/>
        </a:defRPr>
      </a:lvl3pPr>
      <a:lvl4pPr algn="r">
        <a:defRPr>
          <a:solidFill>
            <a:schemeClr val="tx1"/>
          </a:solidFill>
          <a:latin typeface="+mn-lt"/>
          <a:ea typeface="+mn-ea"/>
          <a:cs typeface="+mn-cs"/>
          <a:sym typeface="Helvetica"/>
        </a:defRPr>
      </a:lvl4pPr>
      <a:lvl5pPr algn="r">
        <a:defRPr>
          <a:solidFill>
            <a:schemeClr val="tx1"/>
          </a:solidFill>
          <a:latin typeface="+mn-lt"/>
          <a:ea typeface="+mn-ea"/>
          <a:cs typeface="+mn-cs"/>
          <a:sym typeface="Helvetica"/>
        </a:defRPr>
      </a:lvl5pPr>
      <a:lvl6pPr algn="r">
        <a:defRPr>
          <a:solidFill>
            <a:schemeClr val="tx1"/>
          </a:solidFill>
          <a:latin typeface="+mn-lt"/>
          <a:ea typeface="+mn-ea"/>
          <a:cs typeface="+mn-cs"/>
          <a:sym typeface="Helvetica"/>
        </a:defRPr>
      </a:lvl6pPr>
      <a:lvl7pPr algn="r">
        <a:defRPr>
          <a:solidFill>
            <a:schemeClr val="tx1"/>
          </a:solidFill>
          <a:latin typeface="+mn-lt"/>
          <a:ea typeface="+mn-ea"/>
          <a:cs typeface="+mn-cs"/>
          <a:sym typeface="Helvetica"/>
        </a:defRPr>
      </a:lvl7pPr>
      <a:lvl8pPr algn="r">
        <a:defRPr>
          <a:solidFill>
            <a:schemeClr val="tx1"/>
          </a:solidFill>
          <a:latin typeface="+mn-lt"/>
          <a:ea typeface="+mn-ea"/>
          <a:cs typeface="+mn-cs"/>
          <a:sym typeface="Helvetica"/>
        </a:defRPr>
      </a:lvl8pPr>
      <a:lvl9pPr algn="r">
        <a:defRPr>
          <a:solidFill>
            <a:schemeClr val="tx1"/>
          </a:solidFill>
          <a:latin typeface="+mn-lt"/>
          <a:ea typeface="+mn-ea"/>
          <a:cs typeface="+mn-cs"/>
          <a:sym typeface="Helvetica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823" y="18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23" y="1823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679" y="234892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TW" altLang="en-US" dirty="0"/>
              <a:t>按一下以編輯母片標題樣式</a:t>
            </a:r>
            <a:endParaRPr lang="en-US" altLang="zh-TW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2" y="1990688"/>
            <a:ext cx="4389768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TW"/>
              <a:t>Text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121495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7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373049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charset="0"/>
                <a:ea typeface="DFKai-SB"/>
                <a:cs typeface="+mn-cs"/>
              </a:rPr>
              <a:t>Unit of measure</a:t>
            </a:r>
          </a:p>
        </p:txBody>
      </p:sp>
      <p:grpSp>
        <p:nvGrpSpPr>
          <p:cNvPr id="3" name="McK Slide Elements"/>
          <p:cNvGrpSpPr>
            <a:grpSpLocks/>
          </p:cNvGrpSpPr>
          <p:nvPr/>
        </p:nvGrpSpPr>
        <p:grpSpPr bwMode="auto">
          <a:xfrm>
            <a:off x="121510" y="6202008"/>
            <a:ext cx="8722839" cy="521558"/>
            <a:chOff x="75" y="3829"/>
            <a:chExt cx="5385" cy="322"/>
          </a:xfrm>
        </p:grpSpPr>
        <p:sp>
          <p:nvSpPr>
            <p:cNvPr id="1151" name="McK 4. Footnote" hidden="1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04775" marR="0" lvl="0" indent="-104775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/>
                  <a:cs typeface="+mn-cs"/>
                </a:rPr>
                <a:t>1 </a:t>
              </a:r>
              <a:r>
                <a:rPr kumimoji="0" lang="zh-TW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/>
                  <a:cs typeface="+mn-cs"/>
                </a:rPr>
                <a:t>註釋</a:t>
              </a:r>
              <a:endPara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/>
                <a:cs typeface="+mn-cs"/>
              </a:endParaRPr>
            </a:p>
          </p:txBody>
        </p:sp>
        <p:sp>
          <p:nvSpPr>
            <p:cNvPr id="1041" name="McK 5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31825" indent="-631825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631825" marR="0" lvl="0" indent="-631825" algn="l" defTabSz="8937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631825" algn="l"/>
                </a:tabLst>
                <a:defRPr/>
              </a:pPr>
              <a:r>
                <a:rPr kumimoji="0" lang="zh-TW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資料來源：</a:t>
              </a:r>
              <a:endPara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endParaRPr>
            </a:p>
          </p:txBody>
        </p:sp>
      </p:grpSp>
      <p:grpSp>
        <p:nvGrpSpPr>
          <p:cNvPr id="1033" name="ACET" hidden="1"/>
          <p:cNvGrpSpPr>
            <a:grpSpLocks/>
          </p:cNvGrpSpPr>
          <p:nvPr/>
        </p:nvGrpSpPr>
        <p:grpSpPr bwMode="auto">
          <a:xfrm>
            <a:off x="1482162" y="1158130"/>
            <a:ext cx="4350890" cy="510219"/>
            <a:chOff x="915" y="715"/>
            <a:chExt cx="2686" cy="315"/>
          </a:xfrm>
        </p:grpSpPr>
        <p:cxnSp>
          <p:nvCxnSpPr>
            <p:cNvPr id="1038" name="AutoShape 249" hidden="1"/>
            <p:cNvCxnSpPr>
              <a:cxnSpLocks noChangeShapeType="1"/>
              <a:stCxn id="1039" idx="4"/>
              <a:endCxn id="103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39" name="AutoShape 250" hidden="1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7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Title</a:t>
              </a:r>
            </a:p>
            <a:p>
              <a:pPr marL="0" marR="0" lvl="0" indent="0" algn="l" defTabSz="8957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Unit of measure</a:t>
              </a: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08521" y="2776264"/>
            <a:ext cx="192841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7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Last Modified 5/30/2014 10:13 AM China Standard Time</a:t>
            </a:r>
            <a:endParaRPr kumimoji="0" lang="en-US" altLang="zh-TW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DFKai-SB" pitchFamily="65" charset="-120"/>
              <a:cs typeface="Arial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16110" y="3931132"/>
            <a:ext cx="171361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7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Printed 5/22/2014 10:36 PM China Standard Time</a:t>
            </a:r>
            <a:endParaRPr kumimoji="0" lang="en-US" altLang="zh-TW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DFKai-SB" pitchFamily="65" charset="-120"/>
              <a:cs typeface="Arial" charset="0"/>
            </a:endParaRPr>
          </a:p>
        </p:txBody>
      </p:sp>
      <p:sp>
        <p:nvSpPr>
          <p:cNvPr id="1036" name="doc id"/>
          <p:cNvSpPr>
            <a:spLocks noChangeArrowheads="1"/>
          </p:cNvSpPr>
          <p:nvPr/>
        </p:nvSpPr>
        <p:spPr bwMode="auto">
          <a:xfrm>
            <a:off x="8246616" y="37256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r" defTabSz="8937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DFKai-SB" pitchFamily="65" charset="-120"/>
              <a:cs typeface="Arial" charset="0"/>
            </a:endParaRPr>
          </a:p>
        </p:txBody>
      </p:sp>
      <p:sp>
        <p:nvSpPr>
          <p:cNvPr id="17" name="投影片編號版面配置區 2"/>
          <p:cNvSpPr>
            <a:spLocks noGrp="1"/>
          </p:cNvSpPr>
          <p:nvPr>
            <p:ph type="sldNum" sz="quarter" idx="4"/>
          </p:nvPr>
        </p:nvSpPr>
        <p:spPr>
          <a:xfrm>
            <a:off x="8671415" y="6580382"/>
            <a:ext cx="438779" cy="246217"/>
          </a:xfrm>
          <a:prstGeom prst="rect">
            <a:avLst/>
          </a:prstGeom>
        </p:spPr>
        <p:txBody>
          <a:bodyPr anchor="ctr"/>
          <a:lstStyle>
            <a:lvl1pPr algn="r">
              <a:defRPr sz="1000"/>
            </a:lvl1pPr>
          </a:lstStyle>
          <a:p>
            <a:pPr marL="0" marR="0" lvl="0" indent="0" algn="r" defTabSz="912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64BA75-9870-4AD5-9CA4-6B417ABEE087}" type="slidenum">
              <a:rPr kumimoji="0" lang="zh-TW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pPr marL="0" marR="0" lvl="0" indent="0" algn="r" defTabSz="9128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DFKai-SB"/>
                <a:cs typeface="+mn-cs"/>
              </a:rPr>
              <a:t> </a:t>
            </a:r>
            <a:endParaRPr kumimoji="0" lang="en-US" altLang="zh-TW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DFKai-SB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1453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  <p:sldLayoutId id="2147483771" r:id="rId6"/>
    <p:sldLayoutId id="2147483772" r:id="rId7"/>
    <p:sldLayoutId id="2147483773" r:id="rId8"/>
  </p:sldLayoutIdLst>
  <p:hf hdr="0" ftr="0" dt="0"/>
  <p:txStyles>
    <p:titleStyle>
      <a:lvl1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微軟正黑體" panose="020B0604030504040204" pitchFamily="34" charset="-120"/>
          <a:ea typeface="微軟正黑體" panose="020B0604030504040204" pitchFamily="34" charset="-120"/>
          <a:cs typeface="+mj-cs"/>
        </a:defRPr>
      </a:lvl1pPr>
      <a:lvl2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2pPr>
      <a:lvl3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3pPr>
      <a:lvl4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4pPr>
      <a:lvl5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5pPr>
      <a:lvl6pPr marL="456556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6pPr>
      <a:lvl7pPr marL="913198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7pPr>
      <a:lvl8pPr marL="1369808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8pPr>
      <a:lvl9pPr marL="1826417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9pPr>
    </p:titleStyle>
    <p:bodyStyle>
      <a:lvl1pPr marL="342529" indent="-342529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1884" indent="-190295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+mn-ea"/>
        </a:defRPr>
      </a:lvl2pPr>
      <a:lvl3pPr marL="455070" indent="-260072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</a:defRPr>
      </a:lvl3pPr>
      <a:lvl4pPr marL="612109" indent="-153807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+mn-ea"/>
        </a:defRPr>
      </a:lvl4pPr>
      <a:lvl5pPr marL="743726" indent="-128457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5pPr>
      <a:lvl6pPr marL="1201761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1658369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2114984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2571586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56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198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08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17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23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632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241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846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823" y="18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23" y="1823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679" y="234892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TW" altLang="en-US" dirty="0"/>
              <a:t>按一下以編輯母片標題樣式</a:t>
            </a:r>
            <a:endParaRPr lang="en-US" altLang="zh-TW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2" y="1990688"/>
            <a:ext cx="4389768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TW"/>
              <a:t>Text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37451" y="6597373"/>
            <a:ext cx="438779" cy="2606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defTabSz="894181">
              <a:spcAft>
                <a:spcPct val="0"/>
              </a:spcAft>
              <a:buClrTx/>
              <a:defRPr sz="1000" b="0">
                <a:solidFill>
                  <a:srgbClr val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defRPr>
            </a:lvl1pPr>
          </a:lstStyle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664BA75-9870-4AD5-9CA4-6B417ABEE087}" type="slidenum">
              <a:rPr kumimoji="0" lang="zh-TW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121495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7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373049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charset="0"/>
                <a:ea typeface="DFKai-SB"/>
                <a:cs typeface="+mn-cs"/>
              </a:rPr>
              <a:t>Unit of measure</a:t>
            </a:r>
          </a:p>
        </p:txBody>
      </p:sp>
      <p:grpSp>
        <p:nvGrpSpPr>
          <p:cNvPr id="3" name="McK Slide Elements"/>
          <p:cNvGrpSpPr>
            <a:grpSpLocks/>
          </p:cNvGrpSpPr>
          <p:nvPr/>
        </p:nvGrpSpPr>
        <p:grpSpPr bwMode="auto">
          <a:xfrm>
            <a:off x="121510" y="6202008"/>
            <a:ext cx="8722839" cy="521558"/>
            <a:chOff x="75" y="3829"/>
            <a:chExt cx="5385" cy="322"/>
          </a:xfrm>
        </p:grpSpPr>
        <p:sp>
          <p:nvSpPr>
            <p:cNvPr id="1151" name="McK 4. Footnote" hidden="1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04775" marR="0" lvl="0" indent="-104775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/>
                  <a:cs typeface="+mn-cs"/>
                </a:rPr>
                <a:t>1 </a:t>
              </a:r>
              <a:r>
                <a:rPr kumimoji="0" lang="zh-TW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/>
                  <a:cs typeface="+mn-cs"/>
                </a:rPr>
                <a:t>註釋</a:t>
              </a:r>
              <a:endPara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/>
                <a:cs typeface="+mn-cs"/>
              </a:endParaRPr>
            </a:p>
          </p:txBody>
        </p:sp>
        <p:sp>
          <p:nvSpPr>
            <p:cNvPr id="1041" name="McK 5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31825" indent="-631825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631825" marR="0" lvl="0" indent="-631825" algn="l" defTabSz="8937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631825" algn="l"/>
                </a:tabLst>
                <a:defRPr/>
              </a:pPr>
              <a:r>
                <a:rPr kumimoji="0" lang="zh-TW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資料來源：</a:t>
              </a:r>
              <a:endPara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endParaRPr>
            </a:p>
          </p:txBody>
        </p:sp>
      </p:grpSp>
      <p:grpSp>
        <p:nvGrpSpPr>
          <p:cNvPr id="1033" name="ACET" hidden="1"/>
          <p:cNvGrpSpPr>
            <a:grpSpLocks/>
          </p:cNvGrpSpPr>
          <p:nvPr/>
        </p:nvGrpSpPr>
        <p:grpSpPr bwMode="auto">
          <a:xfrm>
            <a:off x="1482162" y="1158130"/>
            <a:ext cx="4350890" cy="510219"/>
            <a:chOff x="915" y="715"/>
            <a:chExt cx="2686" cy="315"/>
          </a:xfrm>
        </p:grpSpPr>
        <p:cxnSp>
          <p:nvCxnSpPr>
            <p:cNvPr id="1038" name="AutoShape 249" hidden="1"/>
            <p:cNvCxnSpPr>
              <a:cxnSpLocks noChangeShapeType="1"/>
              <a:stCxn id="1039" idx="4"/>
              <a:endCxn id="103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39" name="AutoShape 250" hidden="1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7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Title</a:t>
              </a:r>
            </a:p>
            <a:p>
              <a:pPr marL="0" marR="0" lvl="0" indent="0" algn="l" defTabSz="8957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Unit of measure</a:t>
              </a: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08521" y="2776264"/>
            <a:ext cx="192841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7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Last Modified 5/30/2014 10:13 AM China Standard Time</a:t>
            </a:r>
            <a:endParaRPr kumimoji="0" lang="en-US" altLang="zh-TW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DFKai-SB" pitchFamily="65" charset="-120"/>
              <a:cs typeface="Arial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16110" y="3931132"/>
            <a:ext cx="171361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7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Printed 5/22/2014 10:36 PM China Standard Time</a:t>
            </a:r>
            <a:endParaRPr kumimoji="0" lang="en-US" altLang="zh-TW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DFKai-SB" pitchFamily="65" charset="-120"/>
              <a:cs typeface="Arial" charset="0"/>
            </a:endParaRPr>
          </a:p>
        </p:txBody>
      </p:sp>
      <p:sp>
        <p:nvSpPr>
          <p:cNvPr id="1036" name="doc id"/>
          <p:cNvSpPr>
            <a:spLocks noChangeArrowheads="1"/>
          </p:cNvSpPr>
          <p:nvPr/>
        </p:nvSpPr>
        <p:spPr bwMode="auto">
          <a:xfrm>
            <a:off x="8246616" y="37256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r" defTabSz="8937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DFKai-SB" pitchFamily="65" charset="-12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19511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  <p:sldLayoutId id="2147483792" r:id="rId8"/>
  </p:sldLayoutIdLst>
  <p:hf hdr="0" ftr="0" dt="0"/>
  <p:txStyles>
    <p:titleStyle>
      <a:lvl1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微軟正黑體" panose="020B0604030504040204" pitchFamily="34" charset="-120"/>
          <a:ea typeface="微軟正黑體" panose="020B0604030504040204" pitchFamily="34" charset="-120"/>
          <a:cs typeface="+mj-cs"/>
        </a:defRPr>
      </a:lvl1pPr>
      <a:lvl2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2pPr>
      <a:lvl3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3pPr>
      <a:lvl4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4pPr>
      <a:lvl5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5pPr>
      <a:lvl6pPr marL="456556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6pPr>
      <a:lvl7pPr marL="913198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7pPr>
      <a:lvl8pPr marL="1369808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8pPr>
      <a:lvl9pPr marL="1826417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9pPr>
    </p:titleStyle>
    <p:bodyStyle>
      <a:lvl1pPr marL="342529" indent="-342529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1884" indent="-190295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+mn-ea"/>
        </a:defRPr>
      </a:lvl2pPr>
      <a:lvl3pPr marL="455070" indent="-260072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</a:defRPr>
      </a:lvl3pPr>
      <a:lvl4pPr marL="612109" indent="-153807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+mn-ea"/>
        </a:defRPr>
      </a:lvl4pPr>
      <a:lvl5pPr marL="743726" indent="-128457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5pPr>
      <a:lvl6pPr marL="1201761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1658369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2114984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2571586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56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198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08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17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23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632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241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846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823" y="18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23" y="1823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679" y="234892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TW" altLang="en-US" dirty="0"/>
              <a:t>按一下以編輯母片標題樣式</a:t>
            </a:r>
            <a:endParaRPr lang="en-US" altLang="zh-TW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2" y="1990688"/>
            <a:ext cx="4389768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TW"/>
              <a:t>Text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37451" y="6597373"/>
            <a:ext cx="438779" cy="2606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defTabSz="894181">
              <a:spcAft>
                <a:spcPct val="0"/>
              </a:spcAft>
              <a:buClrTx/>
              <a:defRPr sz="1000" b="0">
                <a:solidFill>
                  <a:srgbClr val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defRPr>
            </a:lvl1pPr>
          </a:lstStyle>
          <a:p>
            <a:pPr marL="0" marR="0" lvl="0" indent="0" algn="l" defTabSz="894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664BA75-9870-4AD5-9CA4-6B417ABEE087}" type="slidenum">
              <a:rPr kumimoji="0" lang="zh-TW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pPr marL="0" marR="0" lvl="0" indent="0" algn="l" defTabSz="894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121495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7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373049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charset="0"/>
                <a:ea typeface="DFKai-SB"/>
                <a:cs typeface="+mn-cs"/>
              </a:rPr>
              <a:t>Unit of measure</a:t>
            </a:r>
          </a:p>
        </p:txBody>
      </p:sp>
      <p:grpSp>
        <p:nvGrpSpPr>
          <p:cNvPr id="3" name="McK Slide Elements"/>
          <p:cNvGrpSpPr>
            <a:grpSpLocks/>
          </p:cNvGrpSpPr>
          <p:nvPr/>
        </p:nvGrpSpPr>
        <p:grpSpPr bwMode="auto">
          <a:xfrm>
            <a:off x="121510" y="6202008"/>
            <a:ext cx="8722839" cy="521558"/>
            <a:chOff x="75" y="3829"/>
            <a:chExt cx="5385" cy="322"/>
          </a:xfrm>
        </p:grpSpPr>
        <p:sp>
          <p:nvSpPr>
            <p:cNvPr id="1151" name="McK 4. Footnote" hidden="1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04775" marR="0" lvl="0" indent="-104775" algn="l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/>
                  <a:cs typeface="+mn-cs"/>
                </a:rPr>
                <a:t>1 </a:t>
              </a:r>
              <a:r>
                <a:rPr kumimoji="0" lang="zh-TW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/>
                  <a:cs typeface="+mn-cs"/>
                </a:rPr>
                <a:t>註釋</a:t>
              </a:r>
              <a:endPara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/>
                <a:cs typeface="+mn-cs"/>
              </a:endParaRPr>
            </a:p>
          </p:txBody>
        </p:sp>
        <p:sp>
          <p:nvSpPr>
            <p:cNvPr id="1041" name="McK 5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31825" indent="-631825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631825" marR="0" lvl="0" indent="-631825" algn="l" defTabSz="8937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631825" algn="l"/>
                </a:tabLst>
                <a:defRPr/>
              </a:pPr>
              <a:r>
                <a:rPr kumimoji="0" lang="zh-TW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資料來源：</a:t>
              </a:r>
              <a:endParaRPr kumimoji="0" lang="en-US" altLang="zh-TW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endParaRPr>
            </a:p>
          </p:txBody>
        </p:sp>
      </p:grpSp>
      <p:grpSp>
        <p:nvGrpSpPr>
          <p:cNvPr id="1033" name="ACET" hidden="1"/>
          <p:cNvGrpSpPr>
            <a:grpSpLocks/>
          </p:cNvGrpSpPr>
          <p:nvPr/>
        </p:nvGrpSpPr>
        <p:grpSpPr bwMode="auto">
          <a:xfrm>
            <a:off x="1482162" y="1158130"/>
            <a:ext cx="4350890" cy="510219"/>
            <a:chOff x="915" y="715"/>
            <a:chExt cx="2686" cy="315"/>
          </a:xfrm>
        </p:grpSpPr>
        <p:cxnSp>
          <p:nvCxnSpPr>
            <p:cNvPr id="1038" name="AutoShape 249" hidden="1"/>
            <p:cNvCxnSpPr>
              <a:cxnSpLocks noChangeShapeType="1"/>
              <a:stCxn id="1039" idx="4"/>
              <a:endCxn id="103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39" name="AutoShape 250" hidden="1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marL="0" marR="0" lvl="0" indent="0" algn="l" defTabSz="8957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Title</a:t>
              </a:r>
            </a:p>
            <a:p>
              <a:pPr marL="0" marR="0" lvl="0" indent="0" algn="l" defTabSz="8957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charset="0"/>
                  <a:ea typeface="DFKai-SB" pitchFamily="65" charset="-120"/>
                  <a:cs typeface="Arial" charset="0"/>
                </a:rPr>
                <a:t>Unit of measure</a:t>
              </a: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08521" y="2776264"/>
            <a:ext cx="192841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7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Last Modified 5/30/2014 10:13 AM China Standard Time</a:t>
            </a:r>
            <a:endParaRPr kumimoji="0" lang="en-US" altLang="zh-TW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DFKai-SB" pitchFamily="65" charset="-120"/>
              <a:cs typeface="Arial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16110" y="3931132"/>
            <a:ext cx="171361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l" defTabSz="8957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DFKai-SB" pitchFamily="65" charset="-120"/>
                <a:cs typeface="Arial" charset="0"/>
              </a:rPr>
              <a:t>Printed 5/22/2014 10:36 PM China Standard Time</a:t>
            </a:r>
            <a:endParaRPr kumimoji="0" lang="en-US" altLang="zh-TW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DFKai-SB" pitchFamily="65" charset="-120"/>
              <a:cs typeface="Arial" charset="0"/>
            </a:endParaRPr>
          </a:p>
        </p:txBody>
      </p:sp>
      <p:sp>
        <p:nvSpPr>
          <p:cNvPr id="1036" name="doc id"/>
          <p:cNvSpPr>
            <a:spLocks noChangeArrowheads="1"/>
          </p:cNvSpPr>
          <p:nvPr/>
        </p:nvSpPr>
        <p:spPr bwMode="auto">
          <a:xfrm>
            <a:off x="8246616" y="37256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marL="0" marR="0" lvl="0" indent="0" algn="r" defTabSz="8937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DFKai-SB" pitchFamily="65" charset="-12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5193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  <p:sldLayoutId id="2147483801" r:id="rId8"/>
  </p:sldLayoutIdLst>
  <p:hf hdr="0" ftr="0" dt="0"/>
  <p:txStyles>
    <p:titleStyle>
      <a:lvl1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微軟正黑體" panose="020B0604030504040204" pitchFamily="34" charset="-120"/>
          <a:ea typeface="微軟正黑體" panose="020B0604030504040204" pitchFamily="34" charset="-120"/>
          <a:cs typeface="+mj-cs"/>
        </a:defRPr>
      </a:lvl1pPr>
      <a:lvl2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2pPr>
      <a:lvl3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3pPr>
      <a:lvl4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4pPr>
      <a:lvl5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5pPr>
      <a:lvl6pPr marL="456556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6pPr>
      <a:lvl7pPr marL="913198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7pPr>
      <a:lvl8pPr marL="1369808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8pPr>
      <a:lvl9pPr marL="1826417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9pPr>
    </p:titleStyle>
    <p:bodyStyle>
      <a:lvl1pPr marL="342529" indent="-342529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1884" indent="-190295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+mn-ea"/>
        </a:defRPr>
      </a:lvl2pPr>
      <a:lvl3pPr marL="455070" indent="-260072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</a:defRPr>
      </a:lvl3pPr>
      <a:lvl4pPr marL="612109" indent="-153807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+mn-ea"/>
        </a:defRPr>
      </a:lvl4pPr>
      <a:lvl5pPr marL="743726" indent="-128457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5pPr>
      <a:lvl6pPr marL="1201761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1658369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2114984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2571586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56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198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08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17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23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632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241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846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66042430"/>
              </p:ext>
            </p:extLst>
          </p:nvPr>
        </p:nvGraphicFramePr>
        <p:xfrm>
          <a:off x="1744" y="174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44" y="1743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600" y="234892"/>
            <a:ext cx="879411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TW" altLang="en-US"/>
              <a:t>按一下以編輯母片標題樣式</a:t>
            </a:r>
            <a:endParaRPr lang="en-US" altLang="zh-TW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82" y="1990708"/>
            <a:ext cx="4389768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TW"/>
              <a:t>Text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121496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2804" eaLnBrk="1" hangingPunct="1">
              <a:spcAft>
                <a:spcPct val="0"/>
              </a:spcAft>
              <a:buClrTx/>
              <a:defRPr/>
            </a:pPr>
            <a:r>
              <a:rPr lang="en-US" altLang="zh-TW" sz="1400" b="0" dirty="0">
                <a:solidFill>
                  <a:srgbClr val="808080"/>
                </a:solidFill>
                <a:ea typeface="DFKai-SB" pitchFamily="65" charset="-120"/>
                <a:cs typeface="Arial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373049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altLang="zh-TW" sz="14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3" name="McK Slide Elements"/>
          <p:cNvGrpSpPr>
            <a:grpSpLocks/>
          </p:cNvGrpSpPr>
          <p:nvPr/>
        </p:nvGrpSpPr>
        <p:grpSpPr bwMode="auto">
          <a:xfrm>
            <a:off x="121510" y="6202028"/>
            <a:ext cx="8722839" cy="521558"/>
            <a:chOff x="75" y="3829"/>
            <a:chExt cx="5385" cy="322"/>
          </a:xfrm>
        </p:grpSpPr>
        <p:sp>
          <p:nvSpPr>
            <p:cNvPr id="1151" name="McK 4. Footnote" hidden="1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altLang="zh-TW" sz="1000" dirty="0">
                  <a:solidFill>
                    <a:srgbClr val="000000"/>
                  </a:solidFill>
                </a:rPr>
                <a:t>1 </a:t>
              </a:r>
              <a:r>
                <a:rPr lang="zh-TW" altLang="en-US" sz="1000" dirty="0">
                  <a:solidFill>
                    <a:srgbClr val="000000"/>
                  </a:solidFill>
                </a:rPr>
                <a:t>註釋</a:t>
              </a:r>
              <a:endParaRPr lang="en-US" altLang="zh-TW" sz="1000" dirty="0">
                <a:solidFill>
                  <a:srgbClr val="000000"/>
                </a:solidFill>
              </a:endParaRPr>
            </a:p>
          </p:txBody>
        </p:sp>
        <p:sp>
          <p:nvSpPr>
            <p:cNvPr id="1041" name="McK 5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31825" indent="-631825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0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資料來源：</a:t>
              </a:r>
              <a:endParaRPr lang="en-US" altLang="zh-TW" sz="1000" b="0" dirty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</p:grpSp>
      <p:grpSp>
        <p:nvGrpSpPr>
          <p:cNvPr id="1033" name="ACET" hidden="1"/>
          <p:cNvGrpSpPr>
            <a:grpSpLocks/>
          </p:cNvGrpSpPr>
          <p:nvPr/>
        </p:nvGrpSpPr>
        <p:grpSpPr bwMode="auto">
          <a:xfrm>
            <a:off x="1482174" y="1158128"/>
            <a:ext cx="4350891" cy="510219"/>
            <a:chOff x="915" y="715"/>
            <a:chExt cx="2686" cy="315"/>
          </a:xfrm>
        </p:grpSpPr>
        <p:cxnSp>
          <p:nvCxnSpPr>
            <p:cNvPr id="1038" name="AutoShape 249" hidden="1"/>
            <p:cNvCxnSpPr>
              <a:cxnSpLocks noChangeShapeType="1"/>
              <a:stCxn id="1039" idx="4"/>
              <a:endCxn id="103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39" name="AutoShape 250" hidden="1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2804" eaLnBrk="1" hangingPunct="1">
                <a:spcAft>
                  <a:spcPct val="0"/>
                </a:spcAft>
                <a:buClrTx/>
                <a:defRPr/>
              </a:pPr>
              <a:r>
                <a:rPr lang="en-US" altLang="zh-TW" sz="1600" dirty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Title</a:t>
              </a:r>
            </a:p>
            <a:p>
              <a:pPr defTabSz="902804" eaLnBrk="1" hangingPunct="1">
                <a:spcAft>
                  <a:spcPct val="0"/>
                </a:spcAft>
                <a:buClrTx/>
                <a:defRPr/>
              </a:pPr>
              <a:r>
                <a:rPr lang="en-US" altLang="zh-TW" sz="1600" b="0" dirty="0">
                  <a:solidFill>
                    <a:srgbClr val="808080"/>
                  </a:solidFill>
                  <a:ea typeface="DFKai-SB" pitchFamily="65" charset="-120"/>
                  <a:cs typeface="Arial" charset="0"/>
                </a:rPr>
                <a:t>Unit of measure</a:t>
              </a: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08524" y="2776285"/>
            <a:ext cx="192841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2804" eaLnBrk="1" hangingPunct="1">
              <a:spcAft>
                <a:spcPct val="0"/>
              </a:spcAft>
              <a:buClrTx/>
              <a:defRPr/>
            </a:pPr>
            <a:r>
              <a:rPr lang="en-US" altLang="zh-TW" sz="600" b="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Last Modified 5/30/2014 10:13 AM China Standard Time</a:t>
            </a:r>
            <a:endParaRPr lang="en-US" altLang="zh-TW" sz="1600" b="0" dirty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16013" y="3931151"/>
            <a:ext cx="171361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2804" eaLnBrk="1" hangingPunct="1">
              <a:spcAft>
                <a:spcPct val="0"/>
              </a:spcAft>
              <a:buClrTx/>
              <a:defRPr/>
            </a:pPr>
            <a:r>
              <a:rPr lang="en-US" altLang="zh-TW" sz="600" b="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Printed 5/22/2014 10:36 PM China Standard Time</a:t>
            </a:r>
            <a:endParaRPr lang="en-US" altLang="zh-TW" sz="1600" b="0" dirty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036" name="doc id"/>
          <p:cNvSpPr>
            <a:spLocks noChangeArrowheads="1"/>
          </p:cNvSpPr>
          <p:nvPr/>
        </p:nvSpPr>
        <p:spPr bwMode="auto">
          <a:xfrm>
            <a:off x="8246616" y="37258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defRPr/>
            </a:pPr>
            <a:endParaRPr lang="cs-CZ" sz="800" b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7" name="投影片編號版面配置區 2"/>
          <p:cNvSpPr>
            <a:spLocks noGrp="1"/>
          </p:cNvSpPr>
          <p:nvPr>
            <p:ph type="sldNum" sz="quarter" idx="4"/>
          </p:nvPr>
        </p:nvSpPr>
        <p:spPr>
          <a:xfrm>
            <a:off x="8671415" y="6580382"/>
            <a:ext cx="438779" cy="246217"/>
          </a:xfrm>
          <a:prstGeom prst="rect">
            <a:avLst/>
          </a:prstGeom>
        </p:spPr>
        <p:txBody>
          <a:bodyPr anchor="ctr"/>
          <a:lstStyle>
            <a:lvl1pPr algn="r">
              <a:defRPr sz="1000"/>
            </a:lvl1pPr>
          </a:lstStyle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/>
              <a:t> 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698537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hf hdr="0" ftr="0" dt="0"/>
  <p:txStyles>
    <p:titleStyle>
      <a:lvl1pPr algn="l" defTabSz="89987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987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2pPr>
      <a:lvl3pPr algn="l" defTabSz="89987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3pPr>
      <a:lvl4pPr algn="l" defTabSz="89987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4pPr>
      <a:lvl5pPr algn="l" defTabSz="89987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5pPr>
      <a:lvl6pPr marL="460185" algn="l" defTabSz="90127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6pPr>
      <a:lvl7pPr marL="920452" algn="l" defTabSz="90127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7pPr>
      <a:lvl8pPr marL="1380674" algn="l" defTabSz="90127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8pPr>
      <a:lvl9pPr marL="1840902" algn="l" defTabSz="90127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9pPr>
    </p:titleStyle>
    <p:bodyStyle>
      <a:lvl1pPr marL="345241" indent="-345241" algn="l" defTabSz="89987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403" indent="-191802" algn="l" defTabSz="8998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+mn-ea"/>
        </a:defRPr>
      </a:lvl2pPr>
      <a:lvl3pPr marL="458696" indent="-262128" algn="l" defTabSz="8998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</a:defRPr>
      </a:lvl3pPr>
      <a:lvl4pPr marL="616963" indent="-155039" algn="l" defTabSz="8998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+mn-ea"/>
        </a:defRPr>
      </a:lvl4pPr>
      <a:lvl5pPr marL="749624" indent="-129474" algn="l" defTabSz="8998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5pPr>
      <a:lvl6pPr marL="1211297" indent="-131044" algn="l" defTabSz="9012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1671519" indent="-131044" algn="l" defTabSz="9012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2131735" indent="-131044" algn="l" defTabSz="9012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2591969" indent="-131044" algn="l" defTabSz="9012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2045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60185" algn="l" defTabSz="92045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20452" algn="l" defTabSz="92045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80674" algn="l" defTabSz="92045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40902" algn="l" defTabSz="92045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01131" algn="l" defTabSz="92045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61353" algn="l" defTabSz="92045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21579" algn="l" defTabSz="92045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81809" algn="l" defTabSz="92045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81704260"/>
              </p:ext>
            </p:extLst>
          </p:nvPr>
        </p:nvGraphicFramePr>
        <p:xfrm>
          <a:off x="1741" y="1740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41" y="1740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600" y="234892"/>
            <a:ext cx="879411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TW" altLang="en-US"/>
              <a:t>按一下以編輯母片標題樣式</a:t>
            </a:r>
            <a:endParaRPr lang="en-US" altLang="zh-TW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82" y="1990708"/>
            <a:ext cx="4389768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TW"/>
              <a:t>Text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121496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3129" eaLnBrk="1" hangingPunct="1">
              <a:spcAft>
                <a:spcPct val="0"/>
              </a:spcAft>
              <a:buClrTx/>
              <a:defRPr/>
            </a:pPr>
            <a:r>
              <a:rPr lang="en-US" altLang="zh-TW" sz="1400" b="0" dirty="0">
                <a:solidFill>
                  <a:srgbClr val="808080"/>
                </a:solidFill>
                <a:ea typeface="DFKai-SB" pitchFamily="65" charset="-120"/>
                <a:cs typeface="Arial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373049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altLang="zh-TW" sz="14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3" name="McK Slide Elements"/>
          <p:cNvGrpSpPr>
            <a:grpSpLocks/>
          </p:cNvGrpSpPr>
          <p:nvPr/>
        </p:nvGrpSpPr>
        <p:grpSpPr bwMode="auto">
          <a:xfrm>
            <a:off x="121510" y="6202028"/>
            <a:ext cx="8722839" cy="521558"/>
            <a:chOff x="75" y="3829"/>
            <a:chExt cx="5385" cy="322"/>
          </a:xfrm>
        </p:grpSpPr>
        <p:sp>
          <p:nvSpPr>
            <p:cNvPr id="1151" name="McK 4. Footnote" hidden="1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altLang="zh-TW" sz="1000" dirty="0">
                  <a:solidFill>
                    <a:srgbClr val="000000"/>
                  </a:solidFill>
                </a:rPr>
                <a:t>1 </a:t>
              </a:r>
              <a:r>
                <a:rPr lang="zh-TW" altLang="en-US" sz="1000" dirty="0">
                  <a:solidFill>
                    <a:srgbClr val="000000"/>
                  </a:solidFill>
                </a:rPr>
                <a:t>註釋</a:t>
              </a:r>
              <a:endParaRPr lang="en-US" altLang="zh-TW" sz="1000" dirty="0">
                <a:solidFill>
                  <a:srgbClr val="000000"/>
                </a:solidFill>
              </a:endParaRPr>
            </a:p>
          </p:txBody>
        </p:sp>
        <p:sp>
          <p:nvSpPr>
            <p:cNvPr id="1041" name="McK 5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31825" indent="-631825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0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資料來源：</a:t>
              </a:r>
              <a:endParaRPr lang="en-US" altLang="zh-TW" sz="1000" b="0" dirty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</p:grpSp>
      <p:grpSp>
        <p:nvGrpSpPr>
          <p:cNvPr id="1033" name="ACET" hidden="1"/>
          <p:cNvGrpSpPr>
            <a:grpSpLocks/>
          </p:cNvGrpSpPr>
          <p:nvPr/>
        </p:nvGrpSpPr>
        <p:grpSpPr bwMode="auto">
          <a:xfrm>
            <a:off x="1482171" y="1158125"/>
            <a:ext cx="4350891" cy="510219"/>
            <a:chOff x="915" y="715"/>
            <a:chExt cx="2686" cy="315"/>
          </a:xfrm>
        </p:grpSpPr>
        <p:cxnSp>
          <p:nvCxnSpPr>
            <p:cNvPr id="1038" name="AutoShape 249" hidden="1"/>
            <p:cNvCxnSpPr>
              <a:cxnSpLocks noChangeShapeType="1"/>
              <a:stCxn id="1039" idx="4"/>
              <a:endCxn id="103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39" name="AutoShape 250" hidden="1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3129" eaLnBrk="1" hangingPunct="1">
                <a:spcAft>
                  <a:spcPct val="0"/>
                </a:spcAft>
                <a:buClrTx/>
                <a:defRPr/>
              </a:pPr>
              <a:r>
                <a:rPr lang="en-US" altLang="zh-TW" sz="1600" dirty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Title</a:t>
              </a:r>
            </a:p>
            <a:p>
              <a:pPr defTabSz="903129" eaLnBrk="1" hangingPunct="1">
                <a:spcAft>
                  <a:spcPct val="0"/>
                </a:spcAft>
                <a:buClrTx/>
                <a:defRPr/>
              </a:pPr>
              <a:r>
                <a:rPr lang="en-US" altLang="zh-TW" sz="1600" b="0" dirty="0">
                  <a:solidFill>
                    <a:srgbClr val="808080"/>
                  </a:solidFill>
                  <a:ea typeface="DFKai-SB" pitchFamily="65" charset="-120"/>
                  <a:cs typeface="Arial" charset="0"/>
                </a:rPr>
                <a:t>Unit of measure</a:t>
              </a: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08524" y="2776282"/>
            <a:ext cx="192841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3129" eaLnBrk="1" hangingPunct="1">
              <a:spcAft>
                <a:spcPct val="0"/>
              </a:spcAft>
              <a:buClrTx/>
              <a:defRPr/>
            </a:pPr>
            <a:r>
              <a:rPr lang="en-US" altLang="zh-TW" sz="600" b="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Last Modified 5/30/2014 10:13 AM China Standard Time</a:t>
            </a:r>
            <a:endParaRPr lang="en-US" altLang="zh-TW" sz="1600" b="0" dirty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16013" y="3931148"/>
            <a:ext cx="171361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3129" eaLnBrk="1" hangingPunct="1">
              <a:spcAft>
                <a:spcPct val="0"/>
              </a:spcAft>
              <a:buClrTx/>
              <a:defRPr/>
            </a:pPr>
            <a:r>
              <a:rPr lang="en-US" altLang="zh-TW" sz="600" b="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Printed 5/22/2014 10:36 PM China Standard Time</a:t>
            </a:r>
            <a:endParaRPr lang="en-US" altLang="zh-TW" sz="1600" b="0" dirty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036" name="doc id"/>
          <p:cNvSpPr>
            <a:spLocks noChangeArrowheads="1"/>
          </p:cNvSpPr>
          <p:nvPr/>
        </p:nvSpPr>
        <p:spPr bwMode="auto">
          <a:xfrm>
            <a:off x="8246616" y="37258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defRPr/>
            </a:pPr>
            <a:endParaRPr lang="cs-CZ" sz="800" b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7" name="投影片編號版面配置區 2"/>
          <p:cNvSpPr>
            <a:spLocks noGrp="1"/>
          </p:cNvSpPr>
          <p:nvPr>
            <p:ph type="sldNum" sz="quarter" idx="4"/>
          </p:nvPr>
        </p:nvSpPr>
        <p:spPr>
          <a:xfrm>
            <a:off x="8671415" y="6580382"/>
            <a:ext cx="438779" cy="246217"/>
          </a:xfrm>
          <a:prstGeom prst="rect">
            <a:avLst/>
          </a:prstGeom>
        </p:spPr>
        <p:txBody>
          <a:bodyPr anchor="ctr"/>
          <a:lstStyle>
            <a:lvl1pPr algn="r">
              <a:defRPr sz="1000"/>
            </a:lvl1pPr>
          </a:lstStyle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/>
              <a:t> 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082645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</p:sldLayoutIdLst>
  <p:hf hdr="0" ftr="0" dt="0"/>
  <p:txStyles>
    <p:titleStyle>
      <a:lvl1pPr algn="l" defTabSz="90019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0019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2pPr>
      <a:lvl3pPr algn="l" defTabSz="90019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3pPr>
      <a:lvl4pPr algn="l" defTabSz="90019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4pPr>
      <a:lvl5pPr algn="l" defTabSz="90019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5pPr>
      <a:lvl6pPr marL="460350" algn="l" defTabSz="9016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6pPr>
      <a:lvl7pPr marL="920782" algn="l" defTabSz="9016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7pPr>
      <a:lvl8pPr marL="1381171" algn="l" defTabSz="9016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8pPr>
      <a:lvl9pPr marL="1841565" algn="l" defTabSz="9016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9pPr>
    </p:titleStyle>
    <p:bodyStyle>
      <a:lvl1pPr marL="345366" indent="-345366" algn="l" defTabSz="90019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472" indent="-191871" algn="l" defTabSz="90019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+mn-ea"/>
        </a:defRPr>
      </a:lvl2pPr>
      <a:lvl3pPr marL="458861" indent="-262223" algn="l" defTabSz="90019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</a:defRPr>
      </a:lvl3pPr>
      <a:lvl4pPr marL="617185" indent="-155094" algn="l" defTabSz="90019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+mn-ea"/>
        </a:defRPr>
      </a:lvl4pPr>
      <a:lvl5pPr marL="749894" indent="-129519" algn="l" defTabSz="90019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5pPr>
      <a:lvl6pPr marL="1211732" indent="-131089" algn="l" defTabSz="9016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1672119" indent="-131089" algn="l" defTabSz="9016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2132503" indent="-131089" algn="l" defTabSz="9016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2592902" indent="-131089" algn="l" defTabSz="9016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207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60350" algn="l" defTabSz="9207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20782" algn="l" defTabSz="9207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81171" algn="l" defTabSz="9207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41565" algn="l" defTabSz="9207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01959" algn="l" defTabSz="9207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62348" algn="l" defTabSz="9207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22740" algn="l" defTabSz="9207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83135" algn="l" defTabSz="9207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50570287"/>
              </p:ext>
            </p:extLst>
          </p:nvPr>
        </p:nvGraphicFramePr>
        <p:xfrm>
          <a:off x="1737" y="1736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37" y="1736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600" y="234892"/>
            <a:ext cx="879411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TW" altLang="en-US"/>
              <a:t>按一下以編輯母片標題樣式</a:t>
            </a:r>
            <a:endParaRPr lang="en-US" altLang="zh-TW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82" y="1990708"/>
            <a:ext cx="4389768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TW"/>
              <a:t>Text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121496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3562" eaLnBrk="1" hangingPunct="1">
              <a:spcAft>
                <a:spcPct val="0"/>
              </a:spcAft>
              <a:buClrTx/>
              <a:defRPr/>
            </a:pPr>
            <a:r>
              <a:rPr lang="en-US" altLang="zh-TW" sz="1400" b="0" dirty="0">
                <a:solidFill>
                  <a:srgbClr val="808080"/>
                </a:solidFill>
                <a:ea typeface="DFKai-SB" pitchFamily="65" charset="-120"/>
                <a:cs typeface="Arial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373049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altLang="zh-TW" sz="14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3" name="McK Slide Elements"/>
          <p:cNvGrpSpPr>
            <a:grpSpLocks/>
          </p:cNvGrpSpPr>
          <p:nvPr/>
        </p:nvGrpSpPr>
        <p:grpSpPr bwMode="auto">
          <a:xfrm>
            <a:off x="121506" y="6202028"/>
            <a:ext cx="8722839" cy="521558"/>
            <a:chOff x="75" y="3829"/>
            <a:chExt cx="5385" cy="322"/>
          </a:xfrm>
        </p:grpSpPr>
        <p:sp>
          <p:nvSpPr>
            <p:cNvPr id="1151" name="McK 4. Footnote" hidden="1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altLang="zh-TW" sz="1000" dirty="0">
                  <a:solidFill>
                    <a:srgbClr val="000000"/>
                  </a:solidFill>
                </a:rPr>
                <a:t>1 </a:t>
              </a:r>
              <a:r>
                <a:rPr lang="zh-TW" altLang="en-US" sz="1000" dirty="0">
                  <a:solidFill>
                    <a:srgbClr val="000000"/>
                  </a:solidFill>
                </a:rPr>
                <a:t>註釋</a:t>
              </a:r>
              <a:endParaRPr lang="en-US" altLang="zh-TW" sz="1000" dirty="0">
                <a:solidFill>
                  <a:srgbClr val="000000"/>
                </a:solidFill>
              </a:endParaRPr>
            </a:p>
          </p:txBody>
        </p:sp>
        <p:sp>
          <p:nvSpPr>
            <p:cNvPr id="1041" name="McK 5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31825" indent="-631825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0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資料來源：</a:t>
              </a:r>
              <a:endParaRPr lang="en-US" altLang="zh-TW" sz="1000" b="0" dirty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</p:grpSp>
      <p:grpSp>
        <p:nvGrpSpPr>
          <p:cNvPr id="1033" name="ACET" hidden="1"/>
          <p:cNvGrpSpPr>
            <a:grpSpLocks/>
          </p:cNvGrpSpPr>
          <p:nvPr/>
        </p:nvGrpSpPr>
        <p:grpSpPr bwMode="auto">
          <a:xfrm>
            <a:off x="1482167" y="1158121"/>
            <a:ext cx="4350891" cy="510219"/>
            <a:chOff x="915" y="715"/>
            <a:chExt cx="2686" cy="315"/>
          </a:xfrm>
        </p:grpSpPr>
        <p:cxnSp>
          <p:nvCxnSpPr>
            <p:cNvPr id="1038" name="AutoShape 249" hidden="1"/>
            <p:cNvCxnSpPr>
              <a:cxnSpLocks noChangeShapeType="1"/>
              <a:stCxn id="1039" idx="4"/>
              <a:endCxn id="103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39" name="AutoShape 250" hidden="1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3562" eaLnBrk="1" hangingPunct="1">
                <a:spcAft>
                  <a:spcPct val="0"/>
                </a:spcAft>
                <a:buClrTx/>
                <a:defRPr/>
              </a:pPr>
              <a:r>
                <a:rPr lang="en-US" altLang="zh-TW" sz="1600" dirty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Title</a:t>
              </a:r>
            </a:p>
            <a:p>
              <a:pPr defTabSz="903562" eaLnBrk="1" hangingPunct="1">
                <a:spcAft>
                  <a:spcPct val="0"/>
                </a:spcAft>
                <a:buClrTx/>
                <a:defRPr/>
              </a:pPr>
              <a:r>
                <a:rPr lang="en-US" altLang="zh-TW" sz="1600" b="0" dirty="0">
                  <a:solidFill>
                    <a:srgbClr val="808080"/>
                  </a:solidFill>
                  <a:ea typeface="DFKai-SB" pitchFamily="65" charset="-120"/>
                  <a:cs typeface="Arial" charset="0"/>
                </a:rPr>
                <a:t>Unit of measure</a:t>
              </a: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08524" y="2776278"/>
            <a:ext cx="192841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3562" eaLnBrk="1" hangingPunct="1">
              <a:spcAft>
                <a:spcPct val="0"/>
              </a:spcAft>
              <a:buClrTx/>
              <a:defRPr/>
            </a:pPr>
            <a:r>
              <a:rPr lang="en-US" altLang="zh-TW" sz="600" b="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Last Modified 5/30/2014 10:13 AM China Standard Time</a:t>
            </a:r>
            <a:endParaRPr lang="en-US" altLang="zh-TW" sz="1600" b="0" dirty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16013" y="3931144"/>
            <a:ext cx="171361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3562" eaLnBrk="1" hangingPunct="1">
              <a:spcAft>
                <a:spcPct val="0"/>
              </a:spcAft>
              <a:buClrTx/>
              <a:defRPr/>
            </a:pPr>
            <a:r>
              <a:rPr lang="en-US" altLang="zh-TW" sz="600" b="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Printed 5/22/2014 10:36 PM China Standard Time</a:t>
            </a:r>
            <a:endParaRPr lang="en-US" altLang="zh-TW" sz="1600" b="0" dirty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036" name="doc id"/>
          <p:cNvSpPr>
            <a:spLocks noChangeArrowheads="1"/>
          </p:cNvSpPr>
          <p:nvPr/>
        </p:nvSpPr>
        <p:spPr bwMode="auto">
          <a:xfrm>
            <a:off x="8246616" y="37258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defRPr/>
            </a:pPr>
            <a:endParaRPr lang="cs-CZ" sz="800" b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7" name="投影片編號版面配置區 2"/>
          <p:cNvSpPr>
            <a:spLocks noGrp="1"/>
          </p:cNvSpPr>
          <p:nvPr>
            <p:ph type="sldNum" sz="quarter" idx="4"/>
          </p:nvPr>
        </p:nvSpPr>
        <p:spPr>
          <a:xfrm>
            <a:off x="8671415" y="6580382"/>
            <a:ext cx="438779" cy="246217"/>
          </a:xfrm>
          <a:prstGeom prst="rect">
            <a:avLst/>
          </a:prstGeom>
        </p:spPr>
        <p:txBody>
          <a:bodyPr anchor="ctr"/>
          <a:lstStyle>
            <a:lvl1pPr algn="r">
              <a:defRPr sz="1000"/>
            </a:lvl1pPr>
          </a:lstStyle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/>
              <a:t> 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018852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</p:sldLayoutIdLst>
  <p:hf hdr="0" ftr="0" dt="0"/>
  <p:txStyles>
    <p:titleStyle>
      <a:lvl1pPr algn="l" defTabSz="90062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0062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2pPr>
      <a:lvl3pPr algn="l" defTabSz="90062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3pPr>
      <a:lvl4pPr algn="l" defTabSz="90062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4pPr>
      <a:lvl5pPr algn="l" defTabSz="90062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5pPr>
      <a:lvl6pPr marL="460570" algn="l" defTabSz="90203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6pPr>
      <a:lvl7pPr marL="921222" algn="l" defTabSz="90203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7pPr>
      <a:lvl8pPr marL="1381835" algn="l" defTabSz="90203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8pPr>
      <a:lvl9pPr marL="1842449" algn="l" defTabSz="90203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9pPr>
    </p:titleStyle>
    <p:bodyStyle>
      <a:lvl1pPr marL="345533" indent="-345533" algn="l" defTabSz="9006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566" indent="-191963" algn="l" defTabSz="9006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+mn-ea"/>
        </a:defRPr>
      </a:lvl2pPr>
      <a:lvl3pPr marL="459081" indent="-262349" algn="l" defTabSz="9006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</a:defRPr>
      </a:lvl3pPr>
      <a:lvl4pPr marL="617481" indent="-155167" algn="l" defTabSz="9006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+mn-ea"/>
        </a:defRPr>
      </a:lvl4pPr>
      <a:lvl5pPr marL="750254" indent="-129579" algn="l" defTabSz="9006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5pPr>
      <a:lvl6pPr marL="1212312" indent="-131149" algn="l" defTabSz="90203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1672920" indent="-131149" algn="l" defTabSz="90203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2133527" indent="-131149" algn="l" defTabSz="90203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2594147" indent="-131149" algn="l" defTabSz="90203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212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60570" algn="l" defTabSz="9212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21222" algn="l" defTabSz="9212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81835" algn="l" defTabSz="9212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42449" algn="l" defTabSz="9212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03064" algn="l" defTabSz="9212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63674" algn="l" defTabSz="9212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24288" algn="l" defTabSz="9212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84903" algn="l" defTabSz="9212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904427441"/>
              </p:ext>
            </p:extLst>
          </p:nvPr>
        </p:nvGraphicFramePr>
        <p:xfrm>
          <a:off x="1732" y="173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32" y="173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600" y="234890"/>
            <a:ext cx="879411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TW" altLang="en-US"/>
              <a:t>按一下以編輯母片標題樣式</a:t>
            </a:r>
            <a:endParaRPr lang="en-US" altLang="zh-TW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81" y="1990707"/>
            <a:ext cx="4389768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TW"/>
              <a:t>Text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121496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4104" eaLnBrk="1" hangingPunct="1">
              <a:spcAft>
                <a:spcPct val="0"/>
              </a:spcAft>
              <a:buClrTx/>
              <a:defRPr/>
            </a:pPr>
            <a:r>
              <a:rPr lang="en-US" altLang="zh-TW" sz="1400" b="0" dirty="0">
                <a:solidFill>
                  <a:srgbClr val="808080"/>
                </a:solidFill>
                <a:ea typeface="DFKai-SB" pitchFamily="65" charset="-120"/>
                <a:cs typeface="Arial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373049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altLang="zh-TW" sz="14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3" name="McK Slide Elements"/>
          <p:cNvGrpSpPr>
            <a:grpSpLocks/>
          </p:cNvGrpSpPr>
          <p:nvPr/>
        </p:nvGrpSpPr>
        <p:grpSpPr bwMode="auto">
          <a:xfrm>
            <a:off x="121501" y="6202028"/>
            <a:ext cx="8722839" cy="521558"/>
            <a:chOff x="75" y="3829"/>
            <a:chExt cx="5385" cy="322"/>
          </a:xfrm>
        </p:grpSpPr>
        <p:sp>
          <p:nvSpPr>
            <p:cNvPr id="1151" name="McK 4. Footnote" hidden="1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altLang="zh-TW" sz="1000" dirty="0">
                  <a:solidFill>
                    <a:srgbClr val="000000"/>
                  </a:solidFill>
                </a:rPr>
                <a:t>1 </a:t>
              </a:r>
              <a:r>
                <a:rPr lang="zh-TW" altLang="en-US" sz="1000" dirty="0">
                  <a:solidFill>
                    <a:srgbClr val="000000"/>
                  </a:solidFill>
                </a:rPr>
                <a:t>註釋</a:t>
              </a:r>
              <a:endParaRPr lang="en-US" altLang="zh-TW" sz="1000" dirty="0">
                <a:solidFill>
                  <a:srgbClr val="000000"/>
                </a:solidFill>
              </a:endParaRPr>
            </a:p>
          </p:txBody>
        </p:sp>
        <p:sp>
          <p:nvSpPr>
            <p:cNvPr id="1041" name="McK 5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31825" indent="-631825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0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資料來源：</a:t>
              </a:r>
              <a:endParaRPr lang="en-US" altLang="zh-TW" sz="1000" b="0" dirty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</p:grpSp>
      <p:grpSp>
        <p:nvGrpSpPr>
          <p:cNvPr id="1033" name="ACET" hidden="1"/>
          <p:cNvGrpSpPr>
            <a:grpSpLocks/>
          </p:cNvGrpSpPr>
          <p:nvPr/>
        </p:nvGrpSpPr>
        <p:grpSpPr bwMode="auto">
          <a:xfrm>
            <a:off x="1482162" y="1146779"/>
            <a:ext cx="4350891" cy="521557"/>
            <a:chOff x="915" y="708"/>
            <a:chExt cx="2686" cy="322"/>
          </a:xfrm>
        </p:grpSpPr>
        <p:cxnSp>
          <p:nvCxnSpPr>
            <p:cNvPr id="1038" name="AutoShape 249" hidden="1"/>
            <p:cNvCxnSpPr>
              <a:cxnSpLocks noChangeShapeType="1"/>
              <a:stCxn id="1039" idx="4"/>
              <a:endCxn id="103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39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904104" eaLnBrk="1" hangingPunct="1">
                <a:spcAft>
                  <a:spcPct val="0"/>
                </a:spcAft>
                <a:buClrTx/>
                <a:defRPr/>
              </a:pPr>
              <a:r>
                <a:rPr lang="en-US" altLang="zh-TW" sz="1600" dirty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Title</a:t>
              </a:r>
            </a:p>
            <a:p>
              <a:pPr defTabSz="904104" eaLnBrk="1" hangingPunct="1">
                <a:spcAft>
                  <a:spcPct val="0"/>
                </a:spcAft>
                <a:buClrTx/>
                <a:defRPr/>
              </a:pPr>
              <a:r>
                <a:rPr lang="en-US" altLang="zh-TW" sz="1600" b="0" dirty="0">
                  <a:solidFill>
                    <a:srgbClr val="808080"/>
                  </a:solidFill>
                  <a:ea typeface="DFKai-SB" pitchFamily="65" charset="-120"/>
                  <a:cs typeface="Arial" charset="0"/>
                </a:rPr>
                <a:t>Unit of measure</a:t>
              </a: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08522" y="2776273"/>
            <a:ext cx="192841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4104" eaLnBrk="1" hangingPunct="1">
              <a:spcAft>
                <a:spcPct val="0"/>
              </a:spcAft>
              <a:buClrTx/>
              <a:defRPr/>
            </a:pPr>
            <a:r>
              <a:rPr lang="en-US" altLang="zh-TW" sz="600" b="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Last Modified 5/30/2014 10:13 AM China Standard Time</a:t>
            </a:r>
            <a:endParaRPr lang="en-US" altLang="zh-TW" sz="1600" b="0" dirty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16013" y="3931139"/>
            <a:ext cx="171361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904104" eaLnBrk="1" hangingPunct="1">
              <a:spcAft>
                <a:spcPct val="0"/>
              </a:spcAft>
              <a:buClrTx/>
              <a:defRPr/>
            </a:pPr>
            <a:r>
              <a:rPr lang="en-US" altLang="zh-TW" sz="600" b="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Printed 5/22/2014 10:36 PM China Standard Time</a:t>
            </a:r>
            <a:endParaRPr lang="en-US" altLang="zh-TW" sz="1600" b="0" dirty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036" name="doc id"/>
          <p:cNvSpPr>
            <a:spLocks noChangeArrowheads="1"/>
          </p:cNvSpPr>
          <p:nvPr/>
        </p:nvSpPr>
        <p:spPr bwMode="auto">
          <a:xfrm>
            <a:off x="8246616" y="37258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defRPr/>
            </a:pPr>
            <a:endParaRPr lang="cs-CZ" sz="800" b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7" name="投影片編號版面配置區 2"/>
          <p:cNvSpPr>
            <a:spLocks noGrp="1"/>
          </p:cNvSpPr>
          <p:nvPr>
            <p:ph type="sldNum" sz="quarter" idx="4"/>
          </p:nvPr>
        </p:nvSpPr>
        <p:spPr>
          <a:xfrm>
            <a:off x="8671415" y="6580382"/>
            <a:ext cx="438779" cy="246217"/>
          </a:xfrm>
          <a:prstGeom prst="rect">
            <a:avLst/>
          </a:prstGeom>
        </p:spPr>
        <p:txBody>
          <a:bodyPr anchor="ctr"/>
          <a:lstStyle>
            <a:lvl1pPr algn="r">
              <a:defRPr sz="1000"/>
            </a:lvl1pPr>
          </a:lstStyle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/>
              <a:t> 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7342201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</p:sldLayoutIdLst>
  <p:hf hdr="0" ftr="0" dt="0"/>
  <p:txStyles>
    <p:titleStyle>
      <a:lvl1pPr algn="l" defTabSz="90116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0116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2pPr>
      <a:lvl3pPr algn="l" defTabSz="90116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3pPr>
      <a:lvl4pPr algn="l" defTabSz="90116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4pPr>
      <a:lvl5pPr algn="l" defTabSz="90116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5pPr>
      <a:lvl6pPr marL="460845" algn="l" defTabSz="90257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6pPr>
      <a:lvl7pPr marL="921773" algn="l" defTabSz="90257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7pPr>
      <a:lvl8pPr marL="1382665" algn="l" defTabSz="90257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8pPr>
      <a:lvl9pPr marL="1843554" algn="l" defTabSz="90257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9pPr>
    </p:titleStyle>
    <p:bodyStyle>
      <a:lvl1pPr marL="345741" indent="-345741" algn="l" defTabSz="90116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82" indent="-192078" algn="l" defTabSz="90116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+mn-ea"/>
        </a:defRPr>
      </a:lvl2pPr>
      <a:lvl3pPr marL="459356" indent="-262507" algn="l" defTabSz="90116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</a:defRPr>
      </a:lvl3pPr>
      <a:lvl4pPr marL="617851" indent="-155259" algn="l" defTabSz="90116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+mn-ea"/>
        </a:defRPr>
      </a:lvl4pPr>
      <a:lvl5pPr marL="750704" indent="-129656" algn="l" defTabSz="90116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5pPr>
      <a:lvl6pPr marL="1213037" indent="-131224" algn="l" defTabSz="9025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1673925" indent="-131224" algn="l" defTabSz="9025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2134807" indent="-131224" algn="l" defTabSz="9025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2595704" indent="-131224" algn="l" defTabSz="9025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2177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60845" algn="l" defTabSz="92177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21773" algn="l" defTabSz="92177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82665" algn="l" defTabSz="92177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43554" algn="l" defTabSz="92177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04448" algn="l" defTabSz="92177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65334" algn="l" defTabSz="92177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26223" algn="l" defTabSz="92177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87114" algn="l" defTabSz="92177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07821711"/>
              </p:ext>
            </p:extLst>
          </p:nvPr>
        </p:nvGraphicFramePr>
        <p:xfrm>
          <a:off x="1823" y="18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23" y="1823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679" y="234892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TW" altLang="en-US" dirty="0"/>
              <a:t>按一下以編輯母片標題樣式</a:t>
            </a:r>
            <a:endParaRPr lang="en-US" altLang="zh-TW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2" y="1990688"/>
            <a:ext cx="4389768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TW"/>
              <a:t>Text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121495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705" eaLnBrk="1" hangingPunct="1">
              <a:spcAft>
                <a:spcPct val="0"/>
              </a:spcAft>
              <a:buClrTx/>
              <a:defRPr/>
            </a:pPr>
            <a:r>
              <a:rPr lang="en-US" altLang="zh-TW" sz="1400" b="0" dirty="0">
                <a:solidFill>
                  <a:srgbClr val="808080"/>
                </a:solidFill>
                <a:ea typeface="DFKai-SB" pitchFamily="65" charset="-120"/>
                <a:cs typeface="Arial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373049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altLang="zh-TW" sz="14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3" name="McK Slide Elements"/>
          <p:cNvGrpSpPr>
            <a:grpSpLocks/>
          </p:cNvGrpSpPr>
          <p:nvPr/>
        </p:nvGrpSpPr>
        <p:grpSpPr bwMode="auto">
          <a:xfrm>
            <a:off x="121510" y="6202008"/>
            <a:ext cx="8722839" cy="521558"/>
            <a:chOff x="75" y="3829"/>
            <a:chExt cx="5385" cy="322"/>
          </a:xfrm>
        </p:grpSpPr>
        <p:sp>
          <p:nvSpPr>
            <p:cNvPr id="1151" name="McK 4. Footnote" hidden="1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altLang="zh-TW" sz="1000" dirty="0">
                  <a:solidFill>
                    <a:srgbClr val="000000"/>
                  </a:solidFill>
                </a:rPr>
                <a:t>1 </a:t>
              </a:r>
              <a:r>
                <a:rPr lang="zh-TW" altLang="en-US" sz="1000" dirty="0">
                  <a:solidFill>
                    <a:srgbClr val="000000"/>
                  </a:solidFill>
                </a:rPr>
                <a:t>註釋</a:t>
              </a:r>
              <a:endParaRPr lang="en-US" altLang="zh-TW" sz="1000" dirty="0">
                <a:solidFill>
                  <a:srgbClr val="000000"/>
                </a:solidFill>
              </a:endParaRPr>
            </a:p>
          </p:txBody>
        </p:sp>
        <p:sp>
          <p:nvSpPr>
            <p:cNvPr id="1041" name="McK 5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31825" indent="-631825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0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資料來源：</a:t>
              </a:r>
              <a:endParaRPr lang="en-US" altLang="zh-TW" sz="1000" b="0" dirty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</p:grpSp>
      <p:grpSp>
        <p:nvGrpSpPr>
          <p:cNvPr id="1033" name="ACET" hidden="1"/>
          <p:cNvGrpSpPr>
            <a:grpSpLocks/>
          </p:cNvGrpSpPr>
          <p:nvPr/>
        </p:nvGrpSpPr>
        <p:grpSpPr bwMode="auto">
          <a:xfrm>
            <a:off x="1482162" y="1158130"/>
            <a:ext cx="4350890" cy="510219"/>
            <a:chOff x="915" y="715"/>
            <a:chExt cx="2686" cy="315"/>
          </a:xfrm>
        </p:grpSpPr>
        <p:cxnSp>
          <p:nvCxnSpPr>
            <p:cNvPr id="1038" name="AutoShape 249" hidden="1"/>
            <p:cNvCxnSpPr>
              <a:cxnSpLocks noChangeShapeType="1"/>
              <a:stCxn id="1039" idx="4"/>
              <a:endCxn id="103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39" name="AutoShape 250" hidden="1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705" eaLnBrk="1" hangingPunct="1">
                <a:spcAft>
                  <a:spcPct val="0"/>
                </a:spcAft>
                <a:buClrTx/>
                <a:defRPr/>
              </a:pPr>
              <a:r>
                <a:rPr lang="en-US" altLang="zh-TW" sz="1600" dirty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Title</a:t>
              </a:r>
            </a:p>
            <a:p>
              <a:pPr defTabSz="895705" eaLnBrk="1" hangingPunct="1">
                <a:spcAft>
                  <a:spcPct val="0"/>
                </a:spcAft>
                <a:buClrTx/>
                <a:defRPr/>
              </a:pPr>
              <a:r>
                <a:rPr lang="en-US" altLang="zh-TW" sz="1600" b="0" dirty="0">
                  <a:solidFill>
                    <a:srgbClr val="808080"/>
                  </a:solidFill>
                  <a:ea typeface="DFKai-SB" pitchFamily="65" charset="-120"/>
                  <a:cs typeface="Arial" charset="0"/>
                </a:rPr>
                <a:t>Unit of measure</a:t>
              </a: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08521" y="2776264"/>
            <a:ext cx="192841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705" eaLnBrk="1" hangingPunct="1">
              <a:spcAft>
                <a:spcPct val="0"/>
              </a:spcAft>
              <a:buClrTx/>
              <a:defRPr/>
            </a:pPr>
            <a:r>
              <a:rPr lang="en-US" altLang="zh-TW" sz="600" b="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Last Modified 5/30/2014 10:13 AM China Standard Time</a:t>
            </a:r>
            <a:endParaRPr lang="en-US" altLang="zh-TW" sz="1600" b="0" dirty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16110" y="3931132"/>
            <a:ext cx="171361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705" eaLnBrk="1" hangingPunct="1">
              <a:spcAft>
                <a:spcPct val="0"/>
              </a:spcAft>
              <a:buClrTx/>
              <a:defRPr/>
            </a:pPr>
            <a:r>
              <a:rPr lang="en-US" altLang="zh-TW" sz="600" b="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Printed 5/22/2014 10:36 PM China Standard Time</a:t>
            </a:r>
            <a:endParaRPr lang="en-US" altLang="zh-TW" sz="1600" b="0" dirty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036" name="doc id"/>
          <p:cNvSpPr>
            <a:spLocks noChangeArrowheads="1"/>
          </p:cNvSpPr>
          <p:nvPr/>
        </p:nvSpPr>
        <p:spPr bwMode="auto">
          <a:xfrm>
            <a:off x="8246616" y="37256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defRPr/>
            </a:pPr>
            <a:endParaRPr lang="cs-CZ" sz="800" b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7" name="投影片編號版面配置區 2"/>
          <p:cNvSpPr>
            <a:spLocks noGrp="1"/>
          </p:cNvSpPr>
          <p:nvPr>
            <p:ph type="sldNum" sz="quarter" idx="4"/>
          </p:nvPr>
        </p:nvSpPr>
        <p:spPr>
          <a:xfrm>
            <a:off x="8671415" y="6580382"/>
            <a:ext cx="438779" cy="246217"/>
          </a:xfrm>
          <a:prstGeom prst="rect">
            <a:avLst/>
          </a:prstGeom>
        </p:spPr>
        <p:txBody>
          <a:bodyPr anchor="ctr"/>
          <a:lstStyle>
            <a:lvl1pPr algn="r">
              <a:defRPr sz="1000"/>
            </a:lvl1pPr>
          </a:lstStyle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/>
              <a:t> 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378693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</p:sldLayoutIdLst>
  <p:hf hdr="0" ftr="0" dt="0"/>
  <p:txStyles>
    <p:titleStyle>
      <a:lvl1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微軟正黑體" panose="020B0604030504040204" pitchFamily="34" charset="-120"/>
          <a:ea typeface="微軟正黑體" panose="020B0604030504040204" pitchFamily="34" charset="-120"/>
          <a:cs typeface="+mj-cs"/>
        </a:defRPr>
      </a:lvl1pPr>
      <a:lvl2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2pPr>
      <a:lvl3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3pPr>
      <a:lvl4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4pPr>
      <a:lvl5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5pPr>
      <a:lvl6pPr marL="456556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6pPr>
      <a:lvl7pPr marL="913198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7pPr>
      <a:lvl8pPr marL="1369808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8pPr>
      <a:lvl9pPr marL="1826417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9pPr>
    </p:titleStyle>
    <p:bodyStyle>
      <a:lvl1pPr marL="342529" indent="-342529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1884" indent="-190295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+mn-ea"/>
        </a:defRPr>
      </a:lvl2pPr>
      <a:lvl3pPr marL="455070" indent="-260072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</a:defRPr>
      </a:lvl3pPr>
      <a:lvl4pPr marL="612109" indent="-153807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+mn-ea"/>
        </a:defRPr>
      </a:lvl4pPr>
      <a:lvl5pPr marL="743726" indent="-128457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5pPr>
      <a:lvl6pPr marL="1201761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1658369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2114984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2571586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56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198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08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17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23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632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241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846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322011035"/>
              </p:ext>
            </p:extLst>
          </p:nvPr>
        </p:nvGraphicFramePr>
        <p:xfrm>
          <a:off x="1823" y="18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23" y="1823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679" y="234892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TW" altLang="en-US" dirty="0"/>
              <a:t>按一下以編輯母片標題樣式</a:t>
            </a:r>
            <a:endParaRPr lang="en-US" altLang="zh-TW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2" y="1990688"/>
            <a:ext cx="4389768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TW"/>
              <a:t>Text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121495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705" eaLnBrk="1" hangingPunct="1">
              <a:spcAft>
                <a:spcPct val="0"/>
              </a:spcAft>
              <a:buClrTx/>
              <a:defRPr/>
            </a:pPr>
            <a:r>
              <a:rPr lang="en-US" altLang="zh-TW" sz="1400" b="0" dirty="0">
                <a:solidFill>
                  <a:srgbClr val="808080"/>
                </a:solidFill>
                <a:ea typeface="DFKai-SB" pitchFamily="65" charset="-120"/>
                <a:cs typeface="Arial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373049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altLang="zh-TW" sz="14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3" name="McK Slide Elements"/>
          <p:cNvGrpSpPr>
            <a:grpSpLocks/>
          </p:cNvGrpSpPr>
          <p:nvPr/>
        </p:nvGrpSpPr>
        <p:grpSpPr bwMode="auto">
          <a:xfrm>
            <a:off x="121510" y="6202008"/>
            <a:ext cx="8722839" cy="521558"/>
            <a:chOff x="75" y="3829"/>
            <a:chExt cx="5385" cy="322"/>
          </a:xfrm>
        </p:grpSpPr>
        <p:sp>
          <p:nvSpPr>
            <p:cNvPr id="1151" name="McK 4. Footnote" hidden="1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altLang="zh-TW" sz="1000" dirty="0">
                  <a:solidFill>
                    <a:srgbClr val="000000"/>
                  </a:solidFill>
                </a:rPr>
                <a:t>1 </a:t>
              </a:r>
              <a:r>
                <a:rPr lang="zh-TW" altLang="en-US" sz="1000" dirty="0">
                  <a:solidFill>
                    <a:srgbClr val="000000"/>
                  </a:solidFill>
                </a:rPr>
                <a:t>註釋</a:t>
              </a:r>
              <a:endParaRPr lang="en-US" altLang="zh-TW" sz="1000" dirty="0">
                <a:solidFill>
                  <a:srgbClr val="000000"/>
                </a:solidFill>
              </a:endParaRPr>
            </a:p>
          </p:txBody>
        </p:sp>
        <p:sp>
          <p:nvSpPr>
            <p:cNvPr id="1041" name="McK 5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31825" indent="-631825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0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資料來源：</a:t>
              </a:r>
              <a:endParaRPr lang="en-US" altLang="zh-TW" sz="1000" b="0" dirty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</p:grpSp>
      <p:grpSp>
        <p:nvGrpSpPr>
          <p:cNvPr id="1033" name="ACET" hidden="1"/>
          <p:cNvGrpSpPr>
            <a:grpSpLocks/>
          </p:cNvGrpSpPr>
          <p:nvPr/>
        </p:nvGrpSpPr>
        <p:grpSpPr bwMode="auto">
          <a:xfrm>
            <a:off x="1482162" y="1158130"/>
            <a:ext cx="4350890" cy="510219"/>
            <a:chOff x="915" y="715"/>
            <a:chExt cx="2686" cy="315"/>
          </a:xfrm>
        </p:grpSpPr>
        <p:cxnSp>
          <p:nvCxnSpPr>
            <p:cNvPr id="1038" name="AutoShape 249" hidden="1"/>
            <p:cNvCxnSpPr>
              <a:cxnSpLocks noChangeShapeType="1"/>
              <a:stCxn id="1039" idx="4"/>
              <a:endCxn id="103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39" name="AutoShape 250" hidden="1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705" eaLnBrk="1" hangingPunct="1">
                <a:spcAft>
                  <a:spcPct val="0"/>
                </a:spcAft>
                <a:buClrTx/>
                <a:defRPr/>
              </a:pPr>
              <a:r>
                <a:rPr lang="en-US" altLang="zh-TW" sz="1600" dirty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Title</a:t>
              </a:r>
            </a:p>
            <a:p>
              <a:pPr defTabSz="895705" eaLnBrk="1" hangingPunct="1">
                <a:spcAft>
                  <a:spcPct val="0"/>
                </a:spcAft>
                <a:buClrTx/>
                <a:defRPr/>
              </a:pPr>
              <a:r>
                <a:rPr lang="en-US" altLang="zh-TW" sz="1600" b="0" dirty="0">
                  <a:solidFill>
                    <a:srgbClr val="808080"/>
                  </a:solidFill>
                  <a:ea typeface="DFKai-SB" pitchFamily="65" charset="-120"/>
                  <a:cs typeface="Arial" charset="0"/>
                </a:rPr>
                <a:t>Unit of measure</a:t>
              </a: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08521" y="2776264"/>
            <a:ext cx="192841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705" eaLnBrk="1" hangingPunct="1">
              <a:spcAft>
                <a:spcPct val="0"/>
              </a:spcAft>
              <a:buClrTx/>
              <a:defRPr/>
            </a:pPr>
            <a:r>
              <a:rPr lang="en-US" altLang="zh-TW" sz="600" b="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Last Modified 5/30/2014 10:13 AM China Standard Time</a:t>
            </a:r>
            <a:endParaRPr lang="en-US" altLang="zh-TW" sz="1600" b="0" dirty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16110" y="3931132"/>
            <a:ext cx="171361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705" eaLnBrk="1" hangingPunct="1">
              <a:spcAft>
                <a:spcPct val="0"/>
              </a:spcAft>
              <a:buClrTx/>
              <a:defRPr/>
            </a:pPr>
            <a:r>
              <a:rPr lang="en-US" altLang="zh-TW" sz="600" b="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Printed 5/22/2014 10:36 PM China Standard Time</a:t>
            </a:r>
            <a:endParaRPr lang="en-US" altLang="zh-TW" sz="1600" b="0" dirty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036" name="doc id"/>
          <p:cNvSpPr>
            <a:spLocks noChangeArrowheads="1"/>
          </p:cNvSpPr>
          <p:nvPr/>
        </p:nvSpPr>
        <p:spPr bwMode="auto">
          <a:xfrm>
            <a:off x="8246616" y="37256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defRPr/>
            </a:pPr>
            <a:endParaRPr lang="cs-CZ" sz="800" b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7" name="投影片編號版面配置區 2"/>
          <p:cNvSpPr>
            <a:spLocks noGrp="1"/>
          </p:cNvSpPr>
          <p:nvPr>
            <p:ph type="sldNum" sz="quarter" idx="4"/>
          </p:nvPr>
        </p:nvSpPr>
        <p:spPr>
          <a:xfrm>
            <a:off x="8671415" y="6580382"/>
            <a:ext cx="438779" cy="246217"/>
          </a:xfrm>
          <a:prstGeom prst="rect">
            <a:avLst/>
          </a:prstGeom>
        </p:spPr>
        <p:txBody>
          <a:bodyPr anchor="ctr"/>
          <a:lstStyle>
            <a:lvl1pPr algn="r">
              <a:defRPr sz="1000"/>
            </a:lvl1pPr>
          </a:lstStyle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/>
              <a:t> 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2457673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</p:sldLayoutIdLst>
  <p:hf hdr="0" ftr="0" dt="0"/>
  <p:txStyles>
    <p:titleStyle>
      <a:lvl1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微軟正黑體" panose="020B0604030504040204" pitchFamily="34" charset="-120"/>
          <a:ea typeface="微軟正黑體" panose="020B0604030504040204" pitchFamily="34" charset="-120"/>
          <a:cs typeface="+mj-cs"/>
        </a:defRPr>
      </a:lvl1pPr>
      <a:lvl2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2pPr>
      <a:lvl3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3pPr>
      <a:lvl4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4pPr>
      <a:lvl5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5pPr>
      <a:lvl6pPr marL="456556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6pPr>
      <a:lvl7pPr marL="913198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7pPr>
      <a:lvl8pPr marL="1369808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8pPr>
      <a:lvl9pPr marL="1826417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9pPr>
    </p:titleStyle>
    <p:bodyStyle>
      <a:lvl1pPr marL="342529" indent="-342529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1884" indent="-190295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+mn-ea"/>
        </a:defRPr>
      </a:lvl2pPr>
      <a:lvl3pPr marL="455070" indent="-260072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</a:defRPr>
      </a:lvl3pPr>
      <a:lvl4pPr marL="612109" indent="-153807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+mn-ea"/>
        </a:defRPr>
      </a:lvl4pPr>
      <a:lvl5pPr marL="743726" indent="-128457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5pPr>
      <a:lvl6pPr marL="1201761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1658369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2114984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2571586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56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198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08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17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23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632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241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846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476323512"/>
              </p:ext>
            </p:extLst>
          </p:nvPr>
        </p:nvGraphicFramePr>
        <p:xfrm>
          <a:off x="1823" y="18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23" y="1823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679" y="234892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TW" altLang="en-US" dirty="0"/>
              <a:t>按一下以編輯母片標題樣式</a:t>
            </a:r>
            <a:endParaRPr lang="en-US" altLang="zh-TW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2" y="1990688"/>
            <a:ext cx="4389768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TW"/>
              <a:t>Text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121495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705" eaLnBrk="1" hangingPunct="1">
              <a:spcAft>
                <a:spcPct val="0"/>
              </a:spcAft>
              <a:buClrTx/>
              <a:defRPr/>
            </a:pPr>
            <a:r>
              <a:rPr lang="en-US" altLang="zh-TW" sz="1400" b="0" dirty="0">
                <a:solidFill>
                  <a:srgbClr val="808080"/>
                </a:solidFill>
                <a:ea typeface="DFKai-SB" pitchFamily="65" charset="-120"/>
                <a:cs typeface="Arial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373049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altLang="zh-TW" sz="14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3" name="McK Slide Elements"/>
          <p:cNvGrpSpPr>
            <a:grpSpLocks/>
          </p:cNvGrpSpPr>
          <p:nvPr/>
        </p:nvGrpSpPr>
        <p:grpSpPr bwMode="auto">
          <a:xfrm>
            <a:off x="121510" y="6202008"/>
            <a:ext cx="8722839" cy="521558"/>
            <a:chOff x="75" y="3829"/>
            <a:chExt cx="5385" cy="322"/>
          </a:xfrm>
        </p:grpSpPr>
        <p:sp>
          <p:nvSpPr>
            <p:cNvPr id="1151" name="McK 4. Footnote" hidden="1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altLang="zh-TW" sz="1000" dirty="0">
                  <a:solidFill>
                    <a:srgbClr val="000000"/>
                  </a:solidFill>
                </a:rPr>
                <a:t>1 </a:t>
              </a:r>
              <a:r>
                <a:rPr lang="zh-TW" altLang="en-US" sz="1000" dirty="0">
                  <a:solidFill>
                    <a:srgbClr val="000000"/>
                  </a:solidFill>
                </a:rPr>
                <a:t>註釋</a:t>
              </a:r>
              <a:endParaRPr lang="en-US" altLang="zh-TW" sz="1000" dirty="0">
                <a:solidFill>
                  <a:srgbClr val="000000"/>
                </a:solidFill>
              </a:endParaRPr>
            </a:p>
          </p:txBody>
        </p:sp>
        <p:sp>
          <p:nvSpPr>
            <p:cNvPr id="1041" name="McK 5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31825" indent="-631825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0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資料來源：</a:t>
              </a:r>
              <a:endParaRPr lang="en-US" altLang="zh-TW" sz="1000" b="0" dirty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</p:grpSp>
      <p:grpSp>
        <p:nvGrpSpPr>
          <p:cNvPr id="1033" name="ACET" hidden="1"/>
          <p:cNvGrpSpPr>
            <a:grpSpLocks/>
          </p:cNvGrpSpPr>
          <p:nvPr/>
        </p:nvGrpSpPr>
        <p:grpSpPr bwMode="auto">
          <a:xfrm>
            <a:off x="1482162" y="1158130"/>
            <a:ext cx="4350890" cy="510219"/>
            <a:chOff x="915" y="715"/>
            <a:chExt cx="2686" cy="315"/>
          </a:xfrm>
        </p:grpSpPr>
        <p:cxnSp>
          <p:nvCxnSpPr>
            <p:cNvPr id="1038" name="AutoShape 249" hidden="1"/>
            <p:cNvCxnSpPr>
              <a:cxnSpLocks noChangeShapeType="1"/>
              <a:stCxn id="1039" idx="4"/>
              <a:endCxn id="103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39" name="AutoShape 250" hidden="1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705" eaLnBrk="1" hangingPunct="1">
                <a:spcAft>
                  <a:spcPct val="0"/>
                </a:spcAft>
                <a:buClrTx/>
                <a:defRPr/>
              </a:pPr>
              <a:r>
                <a:rPr lang="en-US" altLang="zh-TW" sz="1600" dirty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Title</a:t>
              </a:r>
            </a:p>
            <a:p>
              <a:pPr defTabSz="895705" eaLnBrk="1" hangingPunct="1">
                <a:spcAft>
                  <a:spcPct val="0"/>
                </a:spcAft>
                <a:buClrTx/>
                <a:defRPr/>
              </a:pPr>
              <a:r>
                <a:rPr lang="en-US" altLang="zh-TW" sz="1600" b="0" dirty="0">
                  <a:solidFill>
                    <a:srgbClr val="808080"/>
                  </a:solidFill>
                  <a:ea typeface="DFKai-SB" pitchFamily="65" charset="-120"/>
                  <a:cs typeface="Arial" charset="0"/>
                </a:rPr>
                <a:t>Unit of measure</a:t>
              </a: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08521" y="2776264"/>
            <a:ext cx="192841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705" eaLnBrk="1" hangingPunct="1">
              <a:spcAft>
                <a:spcPct val="0"/>
              </a:spcAft>
              <a:buClrTx/>
              <a:defRPr/>
            </a:pPr>
            <a:r>
              <a:rPr lang="en-US" altLang="zh-TW" sz="600" b="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Last Modified 5/30/2014 10:13 AM China Standard Time</a:t>
            </a:r>
            <a:endParaRPr lang="en-US" altLang="zh-TW" sz="1600" b="0" dirty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16110" y="3931132"/>
            <a:ext cx="171361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705" eaLnBrk="1" hangingPunct="1">
              <a:spcAft>
                <a:spcPct val="0"/>
              </a:spcAft>
              <a:buClrTx/>
              <a:defRPr/>
            </a:pPr>
            <a:r>
              <a:rPr lang="en-US" altLang="zh-TW" sz="600" b="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Printed 5/22/2014 10:36 PM China Standard Time</a:t>
            </a:r>
            <a:endParaRPr lang="en-US" altLang="zh-TW" sz="1600" b="0" dirty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036" name="doc id"/>
          <p:cNvSpPr>
            <a:spLocks noChangeArrowheads="1"/>
          </p:cNvSpPr>
          <p:nvPr/>
        </p:nvSpPr>
        <p:spPr bwMode="auto">
          <a:xfrm>
            <a:off x="8246616" y="37256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defRPr/>
            </a:pPr>
            <a:endParaRPr lang="cs-CZ" sz="800" b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7" name="投影片編號版面配置區 2"/>
          <p:cNvSpPr>
            <a:spLocks noGrp="1"/>
          </p:cNvSpPr>
          <p:nvPr>
            <p:ph type="sldNum" sz="quarter" idx="4"/>
          </p:nvPr>
        </p:nvSpPr>
        <p:spPr>
          <a:xfrm>
            <a:off x="8671415" y="6580382"/>
            <a:ext cx="438779" cy="246217"/>
          </a:xfrm>
          <a:prstGeom prst="rect">
            <a:avLst/>
          </a:prstGeom>
        </p:spPr>
        <p:txBody>
          <a:bodyPr anchor="ctr"/>
          <a:lstStyle>
            <a:lvl1pPr algn="r">
              <a:defRPr sz="1000"/>
            </a:lvl1pPr>
          </a:lstStyle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/>
              <a:t> 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468533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</p:sldLayoutIdLst>
  <p:hf hdr="0" ftr="0" dt="0"/>
  <p:txStyles>
    <p:titleStyle>
      <a:lvl1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微軟正黑體" panose="020B0604030504040204" pitchFamily="34" charset="-120"/>
          <a:ea typeface="微軟正黑體" panose="020B0604030504040204" pitchFamily="34" charset="-120"/>
          <a:cs typeface="+mj-cs"/>
        </a:defRPr>
      </a:lvl1pPr>
      <a:lvl2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2pPr>
      <a:lvl3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3pPr>
      <a:lvl4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4pPr>
      <a:lvl5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5pPr>
      <a:lvl6pPr marL="456556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6pPr>
      <a:lvl7pPr marL="913198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7pPr>
      <a:lvl8pPr marL="1369808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8pPr>
      <a:lvl9pPr marL="1826417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9pPr>
    </p:titleStyle>
    <p:bodyStyle>
      <a:lvl1pPr marL="342529" indent="-342529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1884" indent="-190295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+mn-ea"/>
        </a:defRPr>
      </a:lvl2pPr>
      <a:lvl3pPr marL="455070" indent="-260072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</a:defRPr>
      </a:lvl3pPr>
      <a:lvl4pPr marL="612109" indent="-153807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+mn-ea"/>
        </a:defRPr>
      </a:lvl4pPr>
      <a:lvl5pPr marL="743726" indent="-128457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5pPr>
      <a:lvl6pPr marL="1201761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1658369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2114984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2571586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56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198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08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17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23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632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241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846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797925874"/>
              </p:ext>
            </p:extLst>
          </p:nvPr>
        </p:nvGraphicFramePr>
        <p:xfrm>
          <a:off x="1823" y="18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23" y="1823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679" y="234892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TW" altLang="en-US" dirty="0"/>
              <a:t>按一下以編輯母片標題樣式</a:t>
            </a:r>
            <a:endParaRPr lang="en-US" altLang="zh-TW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2" y="1990688"/>
            <a:ext cx="4389768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TW"/>
              <a:t>Text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121495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705" eaLnBrk="1" hangingPunct="1">
              <a:spcAft>
                <a:spcPct val="0"/>
              </a:spcAft>
              <a:buClrTx/>
              <a:defRPr/>
            </a:pPr>
            <a:r>
              <a:rPr lang="en-US" altLang="zh-TW" sz="1400" b="0" dirty="0">
                <a:solidFill>
                  <a:srgbClr val="808080"/>
                </a:solidFill>
                <a:ea typeface="DFKai-SB" pitchFamily="65" charset="-120"/>
                <a:cs typeface="Arial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373049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altLang="zh-TW" sz="14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3" name="McK Slide Elements"/>
          <p:cNvGrpSpPr>
            <a:grpSpLocks/>
          </p:cNvGrpSpPr>
          <p:nvPr/>
        </p:nvGrpSpPr>
        <p:grpSpPr bwMode="auto">
          <a:xfrm>
            <a:off x="121510" y="6202008"/>
            <a:ext cx="8722839" cy="521558"/>
            <a:chOff x="75" y="3829"/>
            <a:chExt cx="5385" cy="322"/>
          </a:xfrm>
        </p:grpSpPr>
        <p:sp>
          <p:nvSpPr>
            <p:cNvPr id="1151" name="McK 4. Footnote" hidden="1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altLang="zh-TW" sz="1000" dirty="0">
                  <a:solidFill>
                    <a:srgbClr val="000000"/>
                  </a:solidFill>
                </a:rPr>
                <a:t>1 </a:t>
              </a:r>
              <a:r>
                <a:rPr lang="zh-TW" altLang="en-US" sz="1000" dirty="0">
                  <a:solidFill>
                    <a:srgbClr val="000000"/>
                  </a:solidFill>
                </a:rPr>
                <a:t>註釋</a:t>
              </a:r>
              <a:endParaRPr lang="en-US" altLang="zh-TW" sz="1000" dirty="0">
                <a:solidFill>
                  <a:srgbClr val="000000"/>
                </a:solidFill>
              </a:endParaRPr>
            </a:p>
          </p:txBody>
        </p:sp>
        <p:sp>
          <p:nvSpPr>
            <p:cNvPr id="1041" name="McK 5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31825" indent="-631825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defTabSz="893763" eaLnBrk="0" hangingPunct="0"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tabLst>
                  <a:tab pos="631825" algn="l"/>
                </a:tabLst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defRPr/>
              </a:pPr>
              <a:r>
                <a:rPr lang="zh-TW" altLang="en-US" sz="1000" b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資料來源：</a:t>
              </a:r>
              <a:endParaRPr lang="en-US" altLang="zh-TW" sz="1000" b="0" dirty="0">
                <a:solidFill>
                  <a:srgbClr val="000000"/>
                </a:solidFill>
                <a:ea typeface="DFKai-SB" pitchFamily="65" charset="-120"/>
                <a:cs typeface="Arial" charset="0"/>
              </a:endParaRPr>
            </a:p>
          </p:txBody>
        </p:sp>
      </p:grpSp>
      <p:grpSp>
        <p:nvGrpSpPr>
          <p:cNvPr id="1033" name="ACET" hidden="1"/>
          <p:cNvGrpSpPr>
            <a:grpSpLocks/>
          </p:cNvGrpSpPr>
          <p:nvPr/>
        </p:nvGrpSpPr>
        <p:grpSpPr bwMode="auto">
          <a:xfrm>
            <a:off x="1482162" y="1158130"/>
            <a:ext cx="4350890" cy="510219"/>
            <a:chOff x="915" y="715"/>
            <a:chExt cx="2686" cy="315"/>
          </a:xfrm>
        </p:grpSpPr>
        <p:cxnSp>
          <p:nvCxnSpPr>
            <p:cNvPr id="1038" name="AutoShape 249" hidden="1"/>
            <p:cNvCxnSpPr>
              <a:cxnSpLocks noChangeShapeType="1"/>
              <a:stCxn id="1039" idx="4"/>
              <a:endCxn id="103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39" name="AutoShape 250" hidden="1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1pPr>
              <a:lvl2pPr marL="742950" indent="-28575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2pPr>
              <a:lvl3pPr marL="11430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3pPr>
              <a:lvl4pPr marL="16002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4pPr>
              <a:lvl5pPr marL="2057400" indent="-228600" eaLnBrk="0" hangingPunct="0"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chemeClr val="tx2"/>
                </a:buClr>
                <a:defRPr sz="1300" b="1">
                  <a:solidFill>
                    <a:schemeClr val="tx1"/>
                  </a:solidFill>
                  <a:latin typeface="Arial" charset="0"/>
                  <a:ea typeface="华文楷体" pitchFamily="2" charset="-122"/>
                </a:defRPr>
              </a:lvl9pPr>
            </a:lstStyle>
            <a:p>
              <a:pPr defTabSz="895705" eaLnBrk="1" hangingPunct="1">
                <a:spcAft>
                  <a:spcPct val="0"/>
                </a:spcAft>
                <a:buClrTx/>
                <a:defRPr/>
              </a:pPr>
              <a:r>
                <a:rPr lang="en-US" altLang="zh-TW" sz="1600" dirty="0">
                  <a:solidFill>
                    <a:srgbClr val="000000"/>
                  </a:solidFill>
                  <a:ea typeface="DFKai-SB" pitchFamily="65" charset="-120"/>
                  <a:cs typeface="Arial" charset="0"/>
                </a:rPr>
                <a:t>Title</a:t>
              </a:r>
            </a:p>
            <a:p>
              <a:pPr defTabSz="895705" eaLnBrk="1" hangingPunct="1">
                <a:spcAft>
                  <a:spcPct val="0"/>
                </a:spcAft>
                <a:buClrTx/>
                <a:defRPr/>
              </a:pPr>
              <a:r>
                <a:rPr lang="en-US" altLang="zh-TW" sz="1600" b="0" dirty="0">
                  <a:solidFill>
                    <a:srgbClr val="808080"/>
                  </a:solidFill>
                  <a:ea typeface="DFKai-SB" pitchFamily="65" charset="-120"/>
                  <a:cs typeface="Arial" charset="0"/>
                </a:rPr>
                <a:t>Unit of measure</a:t>
              </a: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08521" y="2776264"/>
            <a:ext cx="192841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705" eaLnBrk="1" hangingPunct="1">
              <a:spcAft>
                <a:spcPct val="0"/>
              </a:spcAft>
              <a:buClrTx/>
              <a:defRPr/>
            </a:pPr>
            <a:r>
              <a:rPr lang="en-US" altLang="zh-TW" sz="600" b="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Last Modified 5/30/2014 10:13 AM China Standard Time</a:t>
            </a:r>
            <a:endParaRPr lang="en-US" altLang="zh-TW" sz="1600" b="0" dirty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16110" y="3931132"/>
            <a:ext cx="171361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defTabSz="895705" eaLnBrk="1" hangingPunct="1">
              <a:spcAft>
                <a:spcPct val="0"/>
              </a:spcAft>
              <a:buClrTx/>
              <a:defRPr/>
            </a:pPr>
            <a:r>
              <a:rPr lang="en-US" altLang="zh-TW" sz="600" b="0" dirty="0">
                <a:solidFill>
                  <a:srgbClr val="000000"/>
                </a:solidFill>
                <a:ea typeface="DFKai-SB" pitchFamily="65" charset="-120"/>
                <a:cs typeface="Arial" charset="0"/>
              </a:rPr>
              <a:t>Printed 5/22/2014 10:36 PM China Standard Time</a:t>
            </a:r>
            <a:endParaRPr lang="en-US" altLang="zh-TW" sz="1600" b="0" dirty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036" name="doc id"/>
          <p:cNvSpPr>
            <a:spLocks noChangeArrowheads="1"/>
          </p:cNvSpPr>
          <p:nvPr/>
        </p:nvSpPr>
        <p:spPr bwMode="auto">
          <a:xfrm>
            <a:off x="8246616" y="37256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1pPr>
            <a:lvl2pPr marL="742950" indent="-28575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2pPr>
            <a:lvl3pPr marL="11430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3pPr>
            <a:lvl4pPr marL="16002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4pPr>
            <a:lvl5pPr marL="2057400" indent="-228600" defTabSz="893763" eaLnBrk="0" hangingPunct="0"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defRPr sz="1300" b="1">
                <a:solidFill>
                  <a:schemeClr val="tx1"/>
                </a:solidFill>
                <a:latin typeface="Arial" charset="0"/>
                <a:ea typeface="华文楷体" pitchFamily="2" charset="-122"/>
              </a:defRPr>
            </a:lvl9pPr>
          </a:lstStyle>
          <a:p>
            <a:pPr algn="r" eaLnBrk="1" hangingPunct="1">
              <a:spcAft>
                <a:spcPct val="0"/>
              </a:spcAft>
              <a:buClrTx/>
              <a:defRPr/>
            </a:pPr>
            <a:endParaRPr lang="cs-CZ" sz="800" b="0">
              <a:solidFill>
                <a:srgbClr val="000000"/>
              </a:solidFill>
              <a:ea typeface="DFKai-SB" pitchFamily="65" charset="-120"/>
              <a:cs typeface="Arial" charset="0"/>
            </a:endParaRPr>
          </a:p>
        </p:txBody>
      </p:sp>
      <p:sp>
        <p:nvSpPr>
          <p:cNvPr id="17" name="投影片編號版面配置區 2"/>
          <p:cNvSpPr>
            <a:spLocks noGrp="1"/>
          </p:cNvSpPr>
          <p:nvPr>
            <p:ph type="sldNum" sz="quarter" idx="4"/>
          </p:nvPr>
        </p:nvSpPr>
        <p:spPr>
          <a:xfrm>
            <a:off x="8671415" y="6580382"/>
            <a:ext cx="438779" cy="246217"/>
          </a:xfrm>
          <a:prstGeom prst="rect">
            <a:avLst/>
          </a:prstGeom>
        </p:spPr>
        <p:txBody>
          <a:bodyPr anchor="ctr"/>
          <a:lstStyle>
            <a:lvl1pPr algn="r">
              <a:defRPr sz="1000"/>
            </a:lvl1pPr>
          </a:lstStyle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‹#›</a:t>
            </a:fld>
            <a:r>
              <a:rPr lang="en-US" altLang="zh-TW"/>
              <a:t> 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607365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</p:sldLayoutIdLst>
  <p:hf hdr="0" ftr="0" dt="0"/>
  <p:txStyles>
    <p:titleStyle>
      <a:lvl1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微軟正黑體" panose="020B0604030504040204" pitchFamily="34" charset="-120"/>
          <a:ea typeface="微軟正黑體" panose="020B0604030504040204" pitchFamily="34" charset="-120"/>
          <a:cs typeface="+mj-cs"/>
        </a:defRPr>
      </a:lvl1pPr>
      <a:lvl2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2pPr>
      <a:lvl3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3pPr>
      <a:lvl4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4pPr>
      <a:lvl5pPr algn="l" defTabSz="89278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5pPr>
      <a:lvl6pPr marL="456556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6pPr>
      <a:lvl7pPr marL="913198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7pPr>
      <a:lvl8pPr marL="1369808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8pPr>
      <a:lvl9pPr marL="1826417" algn="l" defTabSz="89418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DFKai-SB" pitchFamily="65" charset="-120"/>
        </a:defRPr>
      </a:lvl9pPr>
    </p:titleStyle>
    <p:bodyStyle>
      <a:lvl1pPr marL="342529" indent="-342529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1884" indent="-190295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+mn-ea"/>
        </a:defRPr>
      </a:lvl2pPr>
      <a:lvl3pPr marL="455070" indent="-260072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</a:defRPr>
      </a:lvl3pPr>
      <a:lvl4pPr marL="612109" indent="-153807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+mn-ea"/>
        </a:defRPr>
      </a:lvl4pPr>
      <a:lvl5pPr marL="743726" indent="-128457" algn="l" defTabSz="8927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5pPr>
      <a:lvl6pPr marL="1201761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1658369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2114984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2571586" indent="-130014" algn="l" defTabSz="8941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56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198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08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17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23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632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241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846" algn="l" defTabSz="9131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81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Shape 26"/>
          <p:cNvSpPr>
            <a:spLocks noChangeArrowheads="1"/>
          </p:cNvSpPr>
          <p:nvPr/>
        </p:nvSpPr>
        <p:spPr bwMode="auto">
          <a:xfrm>
            <a:off x="539552" y="2564904"/>
            <a:ext cx="8066088" cy="861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45718" tIns="45718" rIns="45718" bIns="45718">
            <a:spAutoFit/>
          </a:bodyPr>
          <a:lstStyle>
            <a:lvl1pPr>
              <a:spcBef>
                <a:spcPct val="20000"/>
              </a:spcBef>
              <a:buChar char="•"/>
              <a:defRPr sz="1200">
                <a:solidFill>
                  <a:schemeClr val="tx1"/>
                </a:solidFill>
                <a:latin typeface="Helvetica" panose="020B0604020202020204" pitchFamily="34" charset="0"/>
                <a:ea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1200">
                <a:solidFill>
                  <a:schemeClr val="tx1"/>
                </a:solidFill>
                <a:latin typeface="Helvetica" panose="020B0604020202020204" pitchFamily="34" charset="0"/>
                <a:ea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200">
                <a:solidFill>
                  <a:schemeClr val="tx1"/>
                </a:solidFill>
                <a:latin typeface="Helvetica" panose="020B0604020202020204" pitchFamily="34" charset="0"/>
                <a:ea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200">
                <a:solidFill>
                  <a:schemeClr val="tx1"/>
                </a:solidFill>
                <a:latin typeface="Helvetica" panose="020B0604020202020204" pitchFamily="34" charset="0"/>
                <a:ea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Helvetica" panose="020B0604020202020204" pitchFamily="34" charset="0"/>
                <a:ea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Helvetica" panose="020B0604020202020204" pitchFamily="34" charset="0"/>
                <a:ea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Helvetica" panose="020B0604020202020204" pitchFamily="34" charset="0"/>
                <a:ea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Helvetica" panose="020B0604020202020204" pitchFamily="34" charset="0"/>
                <a:ea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Helvetica" panose="020B0604020202020204" pitchFamily="34" charset="0"/>
                <a:ea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defRPr>
            </a:lvl9pPr>
          </a:lstStyle>
          <a:p>
            <a:pPr lvl="0" algn="ctr" defTabSz="914400" fontAlgn="base">
              <a:spcBef>
                <a:spcPct val="0"/>
              </a:spcBef>
              <a:spcAft>
                <a:spcPts val="600"/>
              </a:spcAft>
              <a:buNone/>
            </a:pPr>
            <a:r>
              <a:rPr lang="zh-TW" altLang="en-US" sz="50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凱文</a:t>
            </a:r>
          </a:p>
        </p:txBody>
      </p:sp>
    </p:spTree>
    <p:extLst>
      <p:ext uri="{BB962C8B-B14F-4D97-AF65-F5344CB8AC3E}">
        <p14:creationId xmlns:p14="http://schemas.microsoft.com/office/powerpoint/2010/main" val="4052058241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關於我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idx="1"/>
          </p:nvPr>
        </p:nvSpPr>
        <p:spPr>
          <a:xfrm>
            <a:off x="467544" y="692696"/>
            <a:ext cx="8229600" cy="4824535"/>
          </a:xfrm>
        </p:spPr>
        <p:txBody>
          <a:bodyPr/>
          <a:lstStyle/>
          <a:p>
            <a:pPr lvl="1">
              <a:buFont typeface="Arial" pitchFamily="34" charset="0"/>
              <a:buChar char="•"/>
            </a:pPr>
            <a:r>
              <a:rPr lang="zh-TW" altLang="en-US" sz="2400" dirty="0"/>
              <a:t>個性</a:t>
            </a:r>
            <a:endParaRPr lang="en-US" altLang="zh-TW" sz="2400" dirty="0"/>
          </a:p>
          <a:p>
            <a:pPr lvl="1"/>
            <a:endParaRPr lang="en-US" altLang="zh-TW" sz="2400" dirty="0"/>
          </a:p>
          <a:p>
            <a:pPr lvl="1"/>
            <a:endParaRPr lang="en-US" altLang="zh-TW" sz="2400" dirty="0"/>
          </a:p>
          <a:p>
            <a:pPr lvl="1"/>
            <a:endParaRPr lang="en-US" altLang="zh-TW" sz="2400" dirty="0"/>
          </a:p>
          <a:p>
            <a:pPr lvl="1"/>
            <a:endParaRPr lang="en-US" altLang="zh-TW" sz="2400" dirty="0"/>
          </a:p>
          <a:p>
            <a:pPr lvl="1"/>
            <a:endParaRPr lang="en-US" altLang="zh-TW" sz="2400" dirty="0"/>
          </a:p>
          <a:p>
            <a:pPr lvl="1">
              <a:buFont typeface="Arial" pitchFamily="34" charset="0"/>
              <a:buChar char="•"/>
            </a:pPr>
            <a:r>
              <a:rPr lang="zh-TW" altLang="en-US" sz="2400" dirty="0"/>
              <a:t>興趣</a:t>
            </a:r>
            <a:endParaRPr lang="en-US" altLang="zh-TW" sz="2400" dirty="0"/>
          </a:p>
          <a:p>
            <a:pPr marL="457200" lvl="1" indent="0">
              <a:buNone/>
            </a:pPr>
            <a:endParaRPr lang="zh-TW" altLang="en-US" sz="2400" dirty="0"/>
          </a:p>
          <a:p>
            <a:pPr marL="0" indent="0">
              <a:buNone/>
            </a:pPr>
            <a:endParaRPr lang="zh-TW" altLang="en-US" sz="1600" dirty="0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1</a:t>
            </a:fld>
            <a:r>
              <a:rPr lang="en-US" altLang="zh-TW"/>
              <a:t> </a:t>
            </a:r>
            <a:endParaRPr lang="en-US" altLang="zh-TW" dirty="0"/>
          </a:p>
        </p:txBody>
      </p:sp>
      <p:sp>
        <p:nvSpPr>
          <p:cNvPr id="20" name="矩形 19"/>
          <p:cNvSpPr/>
          <p:nvPr/>
        </p:nvSpPr>
        <p:spPr>
          <a:xfrm>
            <a:off x="3982009" y="2301245"/>
            <a:ext cx="47320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 defTabSz="914400" latinLnBrk="1" hangingPunct="0">
              <a:spcBef>
                <a:spcPts val="600"/>
              </a:spcBef>
              <a:buFont typeface="Wingdings" panose="05000000000000000000" pitchFamily="2" charset="2"/>
              <a:buChar char="n"/>
            </a:pPr>
            <a:endParaRPr lang="en-US" altLang="zh-TW" sz="1400" dirty="0">
              <a:solidFill>
                <a:srgbClr val="000000"/>
              </a:solidFill>
              <a:latin typeface="微軟正黑體" panose="020B0604030504040204" pitchFamily="34" charset="-120"/>
              <a:ea typeface="微軟正黑體" panose="020B0604030504040204" pitchFamily="34" charset="-120"/>
              <a:sym typeface="Helvetica"/>
            </a:endParaRPr>
          </a:p>
        </p:txBody>
      </p:sp>
      <p:graphicFrame>
        <p:nvGraphicFramePr>
          <p:cNvPr id="6" name="資料庫圖表 5"/>
          <p:cNvGraphicFramePr/>
          <p:nvPr>
            <p:extLst>
              <p:ext uri="{D42A27DB-BD31-4B8C-83A1-F6EECF244321}">
                <p14:modId xmlns:p14="http://schemas.microsoft.com/office/powerpoint/2010/main" val="305637004"/>
              </p:ext>
            </p:extLst>
          </p:nvPr>
        </p:nvGraphicFramePr>
        <p:xfrm>
          <a:off x="1403648" y="1331121"/>
          <a:ext cx="6624736" cy="18098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7" name="資料庫圖表 6"/>
          <p:cNvGraphicFramePr/>
          <p:nvPr>
            <p:extLst>
              <p:ext uri="{D42A27DB-BD31-4B8C-83A1-F6EECF244321}">
                <p14:modId xmlns:p14="http://schemas.microsoft.com/office/powerpoint/2010/main" val="2133707133"/>
              </p:ext>
            </p:extLst>
          </p:nvPr>
        </p:nvGraphicFramePr>
        <p:xfrm>
          <a:off x="1403648" y="3861048"/>
          <a:ext cx="6552728" cy="1800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57072539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67544" y="116632"/>
            <a:ext cx="8229600" cy="562074"/>
          </a:xfrm>
        </p:spPr>
        <p:txBody>
          <a:bodyPr/>
          <a:lstStyle/>
          <a:p>
            <a:r>
              <a:rPr lang="zh-TW" altLang="en-US" dirty="0"/>
              <a:t>關於我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TW" altLang="en-US" sz="2400" dirty="0"/>
              <a:t>學經歷</a:t>
            </a:r>
            <a:endParaRPr lang="en-US" altLang="zh-TW" sz="2400" dirty="0"/>
          </a:p>
          <a:p>
            <a:pPr>
              <a:buFont typeface="微軟正黑體" pitchFamily="34" charset="-120"/>
              <a:buChar char="–"/>
            </a:pPr>
            <a:r>
              <a:rPr lang="zh-TW" altLang="en-US" sz="2400" dirty="0"/>
              <a:t>東海社會學系畢業</a:t>
            </a:r>
            <a:endParaRPr lang="en-US" altLang="zh-TW" sz="2400" dirty="0"/>
          </a:p>
          <a:p>
            <a:pPr>
              <a:buFont typeface="微軟正黑體" pitchFamily="34" charset="-120"/>
              <a:buChar char="–"/>
            </a:pPr>
            <a:r>
              <a:rPr lang="zh-TW" altLang="en-US" sz="2400" dirty="0"/>
              <a:t>台北慈濟醫院放射科行政、威盛電子倉管、連展電能工程師</a:t>
            </a:r>
            <a:endParaRPr lang="en-US" altLang="zh-TW" sz="2400" dirty="0"/>
          </a:p>
          <a:p>
            <a:pPr>
              <a:buFont typeface="微軟正黑體" pitchFamily="34" charset="-120"/>
              <a:buChar char="–"/>
            </a:pPr>
            <a:endParaRPr lang="en-US" altLang="zh-TW" sz="2400" dirty="0"/>
          </a:p>
          <a:p>
            <a:r>
              <a:rPr lang="zh-TW" altLang="en-US" sz="2400" dirty="0"/>
              <a:t>資策會前端班</a:t>
            </a:r>
            <a:endParaRPr lang="en-US" altLang="zh-TW" sz="2400" dirty="0"/>
          </a:p>
          <a:p>
            <a:pPr lvl="1">
              <a:buFont typeface="微軟正黑體" pitchFamily="34" charset="-120"/>
              <a:buChar char="–"/>
            </a:pPr>
            <a:r>
              <a:rPr lang="zh-TW" altLang="en-US" sz="2400" dirty="0"/>
              <a:t> </a:t>
            </a:r>
            <a:r>
              <a:rPr lang="en-US" altLang="zh-TW" sz="2400" dirty="0"/>
              <a:t>HTML</a:t>
            </a:r>
            <a:r>
              <a:rPr lang="zh-TW" altLang="en-US" sz="2400" dirty="0"/>
              <a:t>、</a:t>
            </a:r>
            <a:r>
              <a:rPr lang="en-US" altLang="zh-TW" sz="2400" dirty="0"/>
              <a:t>CSS</a:t>
            </a:r>
            <a:r>
              <a:rPr lang="zh-TW" altLang="en-US" sz="2400" dirty="0"/>
              <a:t>、</a:t>
            </a:r>
            <a:r>
              <a:rPr lang="en-US" altLang="zh-TW" sz="2400" dirty="0"/>
              <a:t>JavaScript</a:t>
            </a:r>
          </a:p>
          <a:p>
            <a:pPr lvl="1">
              <a:buFont typeface="微軟正黑體" pitchFamily="34" charset="-120"/>
              <a:buChar char="–"/>
            </a:pPr>
            <a:r>
              <a:rPr lang="zh-TW" altLang="en-US" sz="2400" dirty="0"/>
              <a:t> </a:t>
            </a:r>
            <a:r>
              <a:rPr lang="en-US" altLang="zh-TW" sz="2400" dirty="0"/>
              <a:t>MySQL</a:t>
            </a:r>
          </a:p>
          <a:p>
            <a:pPr lvl="1">
              <a:buFont typeface="微軟正黑體" pitchFamily="34" charset="-120"/>
              <a:buChar char="–"/>
            </a:pPr>
            <a:r>
              <a:rPr lang="en-US" altLang="zh-TW" sz="2400" dirty="0"/>
              <a:t> React.js</a:t>
            </a:r>
          </a:p>
          <a:p>
            <a:pPr lvl="1">
              <a:buFont typeface="微軟正黑體" pitchFamily="34" charset="-120"/>
              <a:buChar char="–"/>
            </a:pPr>
            <a:r>
              <a:rPr lang="zh-TW" altLang="en-US" sz="2400" dirty="0"/>
              <a:t> </a:t>
            </a:r>
            <a:r>
              <a:rPr lang="en-US" altLang="zh-TW" sz="2400" dirty="0"/>
              <a:t>Node.js</a:t>
            </a:r>
          </a:p>
          <a:p>
            <a:pPr>
              <a:buFont typeface="微軟正黑體" pitchFamily="34" charset="-120"/>
              <a:buChar char="–"/>
            </a:pPr>
            <a:endParaRPr lang="zh-TW" altLang="en-US" sz="240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2</a:t>
            </a:fld>
            <a:r>
              <a:rPr lang="en-US" altLang="zh-TW"/>
              <a:t> 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515020805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專題作品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TW" altLang="en-US" sz="2400" dirty="0"/>
              <a:t>密室逃脫第三方平台</a:t>
            </a:r>
            <a:endParaRPr lang="en-US" altLang="zh-TW" sz="2400" dirty="0"/>
          </a:p>
          <a:p>
            <a:r>
              <a:rPr lang="zh-TW" altLang="en-US" sz="2400" dirty="0"/>
              <a:t>使用</a:t>
            </a:r>
            <a:r>
              <a:rPr lang="en-US" altLang="zh-TW" sz="2400" dirty="0" err="1"/>
              <a:t>React.js+Node.js+MySql</a:t>
            </a:r>
            <a:r>
              <a:rPr lang="zh-TW" altLang="en-US" sz="2400" dirty="0"/>
              <a:t>開發</a:t>
            </a:r>
            <a:endParaRPr lang="en-US" altLang="zh-TW" sz="2400" dirty="0"/>
          </a:p>
          <a:p>
            <a:endParaRPr lang="en-US" altLang="zh-TW" sz="2400" dirty="0"/>
          </a:p>
          <a:p>
            <a:pPr>
              <a:buFont typeface="微軟正黑體" pitchFamily="34" charset="-120"/>
              <a:buChar char="–"/>
            </a:pPr>
            <a:endParaRPr lang="en-US" altLang="zh-TW" sz="2400" dirty="0"/>
          </a:p>
          <a:p>
            <a:pPr>
              <a:buFont typeface="微軟正黑體" pitchFamily="34" charset="-120"/>
              <a:buChar char="–"/>
            </a:pPr>
            <a:endParaRPr lang="en-US" altLang="zh-TW" sz="2400" dirty="0"/>
          </a:p>
          <a:p>
            <a:pPr>
              <a:buFont typeface="微軟正黑體" pitchFamily="34" charset="-120"/>
              <a:buChar char="–"/>
            </a:pPr>
            <a:endParaRPr lang="en-US" altLang="zh-TW" sz="2400" dirty="0"/>
          </a:p>
          <a:p>
            <a:pPr>
              <a:buFont typeface="微軟正黑體" pitchFamily="34" charset="-120"/>
              <a:buChar char="–"/>
            </a:pPr>
            <a:endParaRPr lang="en-US" altLang="zh-TW" sz="2400" dirty="0"/>
          </a:p>
          <a:p>
            <a:pPr>
              <a:buFont typeface="微軟正黑體" pitchFamily="34" charset="-120"/>
              <a:buChar char="–"/>
            </a:pPr>
            <a:endParaRPr lang="en-US" altLang="zh-TW" sz="2400" dirty="0"/>
          </a:p>
          <a:p>
            <a:pPr>
              <a:buFont typeface="微軟正黑體" pitchFamily="34" charset="-120"/>
              <a:buChar char="–"/>
            </a:pPr>
            <a:endParaRPr lang="en-US" altLang="zh-TW" sz="2400" dirty="0"/>
          </a:p>
          <a:p>
            <a:pPr>
              <a:buFont typeface="微軟正黑體" pitchFamily="34" charset="-120"/>
              <a:buChar char="–"/>
            </a:pPr>
            <a:endParaRPr lang="en-US" altLang="zh-TW" sz="2400" dirty="0"/>
          </a:p>
          <a:p>
            <a:pPr>
              <a:buFont typeface="微軟正黑體" pitchFamily="34" charset="-120"/>
              <a:buChar char="–"/>
            </a:pPr>
            <a:endParaRPr lang="en-US" altLang="zh-TW" sz="2400" dirty="0"/>
          </a:p>
          <a:p>
            <a:pPr marL="0" indent="0">
              <a:buNone/>
            </a:pPr>
            <a:r>
              <a:rPr lang="zh-TW" altLang="en-US" sz="2400" dirty="0"/>
              <a:t>     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3</a:t>
            </a:fld>
            <a:r>
              <a:rPr lang="en-US" altLang="zh-TW"/>
              <a:t> </a:t>
            </a:r>
            <a:endParaRPr lang="en-US" altLang="zh-TW" dirty="0"/>
          </a:p>
        </p:txBody>
      </p:sp>
      <p:pic>
        <p:nvPicPr>
          <p:cNvPr id="8" name="圖片 7">
            <a:extLst>
              <a:ext uri="{FF2B5EF4-FFF2-40B4-BE49-F238E27FC236}">
                <a16:creationId xmlns:a16="http://schemas.microsoft.com/office/drawing/2014/main" id="{3F3740C5-D63A-11AA-83FA-63857B55F67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14" y="3119960"/>
            <a:ext cx="4420909" cy="2117152"/>
          </a:xfrm>
          <a:prstGeom prst="rect">
            <a:avLst/>
          </a:prstGeom>
        </p:spPr>
      </p:pic>
      <p:pic>
        <p:nvPicPr>
          <p:cNvPr id="10" name="圖片 9">
            <a:extLst>
              <a:ext uri="{FF2B5EF4-FFF2-40B4-BE49-F238E27FC236}">
                <a16:creationId xmlns:a16="http://schemas.microsoft.com/office/drawing/2014/main" id="{8459F06F-C9EF-3DDB-E55F-AB11A71C046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3793" y="3023821"/>
            <a:ext cx="4572000" cy="2188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3580663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專題作品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微軟正黑體" pitchFamily="34" charset="-120"/>
              <a:buChar char="–"/>
            </a:pPr>
            <a:r>
              <a:rPr lang="zh-TW" altLang="en-US" sz="2400" dirty="0"/>
              <a:t>會員登入、登出</a:t>
            </a:r>
            <a:endParaRPr lang="en-US" altLang="zh-TW" sz="2400" dirty="0"/>
          </a:p>
          <a:p>
            <a:pPr>
              <a:buFont typeface="微軟正黑體" pitchFamily="34" charset="-120"/>
              <a:buChar char="–"/>
            </a:pPr>
            <a:r>
              <a:rPr lang="en-US" altLang="zh-TW" sz="2400" dirty="0"/>
              <a:t>Google</a:t>
            </a:r>
            <a:r>
              <a:rPr lang="zh-TW" altLang="en-US" sz="2400" dirty="0"/>
              <a:t>第三方平台登入、驗證信、驗證碼</a:t>
            </a:r>
            <a:endParaRPr lang="en-US" altLang="zh-TW" sz="2400" dirty="0"/>
          </a:p>
          <a:p>
            <a:pPr>
              <a:buFont typeface="微軟正黑體" pitchFamily="34" charset="-120"/>
              <a:buChar char="–"/>
            </a:pPr>
            <a:endParaRPr lang="zh-TW" altLang="en-US" sz="240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4</a:t>
            </a:fld>
            <a:r>
              <a:rPr lang="en-US" altLang="zh-TW"/>
              <a:t> </a:t>
            </a:r>
            <a:endParaRPr lang="en-US" altLang="zh-TW" dirty="0"/>
          </a:p>
        </p:txBody>
      </p:sp>
      <p:pic>
        <p:nvPicPr>
          <p:cNvPr id="10" name="圖片 9">
            <a:extLst>
              <a:ext uri="{FF2B5EF4-FFF2-40B4-BE49-F238E27FC236}">
                <a16:creationId xmlns:a16="http://schemas.microsoft.com/office/drawing/2014/main" id="{52EED915-2264-6C14-F648-C2CECD150AB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302" y="2060848"/>
            <a:ext cx="7477395" cy="3579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7797688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專題作品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微軟正黑體" pitchFamily="34" charset="-120"/>
              <a:buChar char="–"/>
            </a:pPr>
            <a:r>
              <a:rPr lang="zh-TW" altLang="en-US" sz="2400" dirty="0"/>
              <a:t>會員中心</a:t>
            </a:r>
            <a:endParaRPr lang="en-US" altLang="zh-TW" sz="2400" dirty="0"/>
          </a:p>
          <a:p>
            <a:pPr>
              <a:buFont typeface="微軟正黑體" pitchFamily="34" charset="-120"/>
              <a:buChar char="–"/>
            </a:pPr>
            <a:endParaRPr lang="zh-TW" altLang="en-US" sz="240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5</a:t>
            </a:fld>
            <a:r>
              <a:rPr lang="en-US" altLang="zh-TW"/>
              <a:t> </a:t>
            </a:r>
            <a:endParaRPr lang="en-US" altLang="zh-TW" dirty="0"/>
          </a:p>
        </p:txBody>
      </p:sp>
      <p:pic>
        <p:nvPicPr>
          <p:cNvPr id="6" name="圖片 5">
            <a:extLst>
              <a:ext uri="{FF2B5EF4-FFF2-40B4-BE49-F238E27FC236}">
                <a16:creationId xmlns:a16="http://schemas.microsoft.com/office/drawing/2014/main" id="{3E6B2351-3B51-6CC9-994D-12793C8593C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722" y="1747383"/>
            <a:ext cx="8330006" cy="3987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700237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未來目標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zh-TW" altLang="en-US" sz="2400" dirty="0"/>
              <a:t>未來目標</a:t>
            </a:r>
            <a:endParaRPr lang="en-US" altLang="zh-TW" sz="2400" dirty="0"/>
          </a:p>
          <a:p>
            <a:pPr lvl="1">
              <a:buFont typeface="微軟正黑體" pitchFamily="34" charset="-120"/>
              <a:buChar char="–"/>
            </a:pPr>
            <a:r>
              <a:rPr lang="zh-TW" altLang="en-US" sz="2400" dirty="0"/>
              <a:t>  增加程式技術的熟練度</a:t>
            </a:r>
            <a:endParaRPr lang="en-US" altLang="zh-TW" sz="2400" dirty="0"/>
          </a:p>
          <a:p>
            <a:pPr lvl="1">
              <a:buFont typeface="微軟正黑體" pitchFamily="34" charset="-120"/>
              <a:buChar char="–"/>
            </a:pPr>
            <a:r>
              <a:rPr lang="zh-TW" altLang="en-US" sz="2400" dirty="0"/>
              <a:t>  有考慮讀在職專班把學位補起來</a:t>
            </a:r>
            <a:endParaRPr lang="en-US" altLang="zh-TW" sz="2400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664BA75-9870-4AD5-9CA4-6B417ABEE087}" type="slidenum">
              <a:rPr lang="zh-TW" altLang="en-US" smtClean="0"/>
              <a:pPr>
                <a:defRPr/>
              </a:pPr>
              <a:t>6</a:t>
            </a:fld>
            <a:r>
              <a:rPr lang="en-US" altLang="zh-TW"/>
              <a:t> 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729348999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5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1.00000000000000000000E+00&quot;&gt;&lt;m_msothmcolidx val=&quot;0&quot;/&gt;&lt;m_rgb r=&quot;00&quot; g=&quot;66&quot; b=&quot;CC&quot;/&gt;&lt;m_nBrightness val=&quot;0&quot;/&gt;&lt;/elem&gt;&lt;elem m_fUsage=&quot;9.00000000000000022204E-01&quot;&gt;&lt;m_msothmcolidx val=&quot;0&quot;/&gt;&lt;m_rgb r=&quot;7A&quot; g=&quot;D1&quot; b=&quot;FC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LLEFT" val=" 210.125"/>
  <p:tag name="LTOP" val=" 469.875"/>
  <p:tag name="THINKCELLSHAPEDONOTDELETE" val="pW_LLjbPTbkmIbDVNNEStMg"/>
  <p:tag name="RESIZE" val="Ye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LLEFT" val=" 210.125"/>
  <p:tag name="LTOP" val=" 469.875"/>
  <p:tag name="THINKCELLSHAPEDONOTDELETE" val="pW_LLjbPTbkmIbDVNNEStMg"/>
  <p:tag name="RESIZE" val="Yes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LLEFT" val=" 210.125"/>
  <p:tag name="LTOP" val=" 469.875"/>
  <p:tag name="THINKCELLSHAPEDONOTDELETE" val="pW_LLjbPTbkmIbDVNNEStMg"/>
  <p:tag name="RESIZE" val="Yes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LLEFT" val=" 210.125"/>
  <p:tag name="LTOP" val=" 469.875"/>
  <p:tag name="THINKCELLSHAPEDONOTDELETE" val="pW_LLjbPTbkmIbDVNNEStMg"/>
  <p:tag name="RESIZE" val="Yes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LLEFT" val=" 210.125"/>
  <p:tag name="LTOP" val=" 469.875"/>
  <p:tag name="THINKCELLSHAPEDONOTDELETE" val="pW_LLjbPTbkmIbDVNNEStMg"/>
  <p:tag name="RESIZE" val="Yes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LLEFT" val=" 210.125"/>
  <p:tag name="LTOP" val=" 469.875"/>
  <p:tag name="THINKCELLSHAPEDONOTDELETE" val="pW_LLjbPTbkmIbDVNNEStMg"/>
  <p:tag name="RESIZE" val="Yes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LLEFT" val=" 210.125"/>
  <p:tag name="LTOP" val=" 469.875"/>
  <p:tag name="THINKCELLSHAPEDONOTDELETE" val="pW_LLjbPTbkmIbDVNNEStMg"/>
  <p:tag name="RESIZE" val="Yes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LLEFT" val=" 210.125"/>
  <p:tag name="LTOP" val=" 469.875"/>
  <p:tag name="THINKCELLSHAPEDONOTDELETE" val="pW_LLjbPTbkmIbDVNNEStMg"/>
  <p:tag name="RESIZE" val="Yes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LLEFT" val=" 210.125"/>
  <p:tag name="LTOP" val=" 469.875"/>
  <p:tag name="THINKCELLSHAPEDONOTDELETE" val="pW_LLjbPTbkmIbDVNNEStMg"/>
  <p:tag name="RESIZE" val="Yes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LLEFT" val=" 210.125"/>
  <p:tag name="LTOP" val=" 469.875"/>
  <p:tag name="THINKCELLSHAPEDONOTDELETE" val="pW_LLjbPTbkmIbDVNNEStMg"/>
  <p:tag name="RESIZE" val="Yes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LLEFT" val=" 210.125"/>
  <p:tag name="LTOP" val=" 469.875"/>
  <p:tag name="THINKCELLSHAPEDONOTDELETE" val="pW_LLjbPTbkmIbDVNNEStMg"/>
  <p:tag name="RESIZE" val="Yes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LLEFT" val=" 210.125"/>
  <p:tag name="LTOP" val=" 469.875"/>
  <p:tag name="THINKCELLSHAPEDONOTDELETE" val="pW_LLjbPTbkmIbDVNNEStMg"/>
  <p:tag name="RESIZE" val="Yes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LLEFT" val=" 210.125"/>
  <p:tag name="LTOP" val=" 469.875"/>
  <p:tag name="THINKCELLSHAPEDONOTDELETE" val="pW_LLjbPTbkmIbDVNNEStMg"/>
  <p:tag name="RESIZE" val="Yes"/>
</p:tagLst>
</file>

<file path=ppt/theme/theme1.xml><?xml version="1.0" encoding="utf-8"?>
<a:theme xmlns:a="http://schemas.openxmlformats.org/drawingml/2006/main" name="49_Firm Format - Chinese (Taiwan)">
  <a:themeElements>
    <a:clrScheme name="Firm Format - Chinese (Taiwan)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7E0FB"/>
      </a:accent1>
      <a:accent2>
        <a:srgbClr val="333399"/>
      </a:accent2>
      <a:accent3>
        <a:srgbClr val="009999"/>
      </a:accent3>
      <a:accent4>
        <a:srgbClr val="99CC00"/>
      </a:accent4>
      <a:accent5>
        <a:srgbClr val="FF6600"/>
      </a:accent5>
      <a:accent6>
        <a:srgbClr val="808080"/>
      </a:accent6>
      <a:hlink>
        <a:srgbClr val="009999"/>
      </a:hlink>
      <a:folHlink>
        <a:srgbClr val="99CC00"/>
      </a:folHlink>
    </a:clrScheme>
    <a:fontScheme name="Firm Format - Chinese (Taiwan)">
      <a:majorFont>
        <a:latin typeface="Arial"/>
        <a:ea typeface="DFKai-SB"/>
        <a:cs typeface=""/>
      </a:majorFont>
      <a:minorFont>
        <a:latin typeface="Arial"/>
        <a:ea typeface="DFKai-SB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rtlCol="0" anchor="ctr" anchorCtr="0" compatLnSpc="1">
        <a:prstTxWarp prst="textNoShape">
          <a:avLst/>
        </a:prstTxWarp>
        <a:noAutofit/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50000"/>
          </a:spcAft>
          <a:buClr>
            <a:schemeClr val="tx2"/>
          </a:buClr>
          <a:buSzTx/>
          <a:buFontTx/>
          <a:buNone/>
          <a:tabLst/>
          <a:defRPr kumimoji="0" sz="13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华文楷体" pitchFamily="2" charset="-122"/>
            <a:cs typeface="Arial" charset="0"/>
          </a:defRPr>
        </a:defPPr>
      </a:lstStyle>
    </a:spDef>
    <a:lnDef>
      <a:spPr bwMode="auto">
        <a:solidFill>
          <a:schemeClr val="accent1"/>
        </a:solidFill>
        <a:ln w="15875" cap="flat" cmpd="sng" algn="ctr">
          <a:solidFill>
            <a:schemeClr val="bg1">
              <a:lumMod val="50000"/>
            </a:schemeClr>
          </a:solidFill>
          <a:prstDash val="solid"/>
          <a:round/>
          <a:headEnd type="oval" w="med" len="med"/>
          <a:tailEnd type="oval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Firm Format - Chinese (Taiwan)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7E0FB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23_Firm Format - Chinese (Taiwan)">
  <a:themeElements>
    <a:clrScheme name="Firm Format - Chinese (Taiwan)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7E0FB"/>
      </a:accent1>
      <a:accent2>
        <a:srgbClr val="333399"/>
      </a:accent2>
      <a:accent3>
        <a:srgbClr val="009999"/>
      </a:accent3>
      <a:accent4>
        <a:srgbClr val="99CC00"/>
      </a:accent4>
      <a:accent5>
        <a:srgbClr val="FF6600"/>
      </a:accent5>
      <a:accent6>
        <a:srgbClr val="808080"/>
      </a:accent6>
      <a:hlink>
        <a:srgbClr val="009999"/>
      </a:hlink>
      <a:folHlink>
        <a:srgbClr val="99CC00"/>
      </a:folHlink>
    </a:clrScheme>
    <a:fontScheme name="Firm Format - Chinese (Taiwan)">
      <a:majorFont>
        <a:latin typeface="Arial"/>
        <a:ea typeface="DFKai-SB"/>
        <a:cs typeface=""/>
      </a:majorFont>
      <a:minorFont>
        <a:latin typeface="Arial"/>
        <a:ea typeface="DFKai-SB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rtlCol="0" anchor="ctr" anchorCtr="0" compatLnSpc="1">
        <a:prstTxWarp prst="textNoShape">
          <a:avLst/>
        </a:prstTxWarp>
        <a:noAutofit/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50000"/>
          </a:spcAft>
          <a:buClr>
            <a:schemeClr val="tx2"/>
          </a:buClr>
          <a:buSzTx/>
          <a:buFontTx/>
          <a:buNone/>
          <a:tabLst/>
          <a:defRPr kumimoji="0" sz="13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华文楷体" pitchFamily="2" charset="-122"/>
            <a:cs typeface="Arial" charset="0"/>
          </a:defRPr>
        </a:defPPr>
      </a:lstStyle>
    </a:spDef>
    <a:lnDef>
      <a:spPr bwMode="auto">
        <a:solidFill>
          <a:schemeClr val="accent1"/>
        </a:solidFill>
        <a:ln w="15875" cap="flat" cmpd="sng" algn="ctr">
          <a:solidFill>
            <a:schemeClr val="bg1">
              <a:lumMod val="50000"/>
            </a:schemeClr>
          </a:solidFill>
          <a:prstDash val="solid"/>
          <a:round/>
          <a:headEnd type="oval" w="med" len="med"/>
          <a:tailEnd type="oval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Firm Format - Chinese (Taiwan)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7E0FB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Default">
  <a:themeElements>
    <a:clrScheme name="自訂 3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BBE0E3"/>
      </a:accent1>
      <a:accent2>
        <a:srgbClr val="333399"/>
      </a:accent2>
      <a:accent3>
        <a:srgbClr val="8F8F8F"/>
      </a:accent3>
      <a:accent4>
        <a:srgbClr val="009999"/>
      </a:accent4>
      <a:accent5>
        <a:srgbClr val="D8ECED"/>
      </a:accent5>
      <a:accent6>
        <a:srgbClr val="2E2E8B"/>
      </a:accent6>
      <a:hlink>
        <a:srgbClr val="0000FF"/>
      </a:hlink>
      <a:folHlink>
        <a:srgbClr val="FF00FF"/>
      </a:folHlink>
    </a:clrScheme>
    <a:fontScheme name="title">
      <a:majorFont>
        <a:latin typeface="微軟正黑體"/>
        <a:ea typeface="微軟正黑體"/>
        <a:cs typeface=""/>
      </a:majorFont>
      <a:minorFont>
        <a:latin typeface="微軟正黑體"/>
        <a:ea typeface="微軟正黑體"/>
        <a:cs typeface="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rgbClr val="BBE0E3"/>
          </a:solidFill>
          <a:prstDash val="solid"/>
          <a:bevel/>
        </a:ln>
        <a:effectLst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BBE0E3"/>
          </a:solidFill>
          <a:prstDash val="solid"/>
          <a:bevel/>
        </a:ln>
        <a:effectLst>
          <a:outerShdw blurRad="38100" dist="20000" dir="5400000" rotWithShape="0">
            <a:srgbClr val="000000">
              <a:alpha val="38000"/>
            </a:srgbClr>
          </a:outerShdw>
        </a:effectLst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12.xml><?xml version="1.0" encoding="utf-8"?>
<a:theme xmlns:a="http://schemas.openxmlformats.org/drawingml/2006/main" name="54_Firm Format - Chinese (Taiwan)">
  <a:themeElements>
    <a:clrScheme name="Firm Format - Chinese (Taiwan)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7E0FB"/>
      </a:accent1>
      <a:accent2>
        <a:srgbClr val="333399"/>
      </a:accent2>
      <a:accent3>
        <a:srgbClr val="009999"/>
      </a:accent3>
      <a:accent4>
        <a:srgbClr val="99CC00"/>
      </a:accent4>
      <a:accent5>
        <a:srgbClr val="FF6600"/>
      </a:accent5>
      <a:accent6>
        <a:srgbClr val="808080"/>
      </a:accent6>
      <a:hlink>
        <a:srgbClr val="009999"/>
      </a:hlink>
      <a:folHlink>
        <a:srgbClr val="99CC00"/>
      </a:folHlink>
    </a:clrScheme>
    <a:fontScheme name="Firm Format - Chinese (Taiwan)">
      <a:majorFont>
        <a:latin typeface="Arial"/>
        <a:ea typeface="DFKai-SB"/>
        <a:cs typeface=""/>
      </a:majorFont>
      <a:minorFont>
        <a:latin typeface="Arial"/>
        <a:ea typeface="DFKai-SB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none">
        <a:spAutoFit/>
      </a:bodyPr>
      <a:lstStyle>
        <a:defPPr>
          <a:defRPr sz="1400" dirty="0">
            <a:latin typeface="微軟正黑體" panose="020B0604030504040204" pitchFamily="34" charset="-120"/>
            <a:ea typeface="微軟正黑體" panose="020B0604030504040204" pitchFamily="34" charset="-120"/>
          </a:defRPr>
        </a:defPPr>
      </a:lstStyle>
    </a:spDef>
    <a:lnDef>
      <a:spPr bwMode="auto">
        <a:solidFill>
          <a:schemeClr val="accent1"/>
        </a:solidFill>
        <a:ln w="15875" cap="flat" cmpd="sng" algn="ctr">
          <a:solidFill>
            <a:schemeClr val="bg1">
              <a:lumMod val="75000"/>
            </a:schemeClr>
          </a:solidFill>
          <a:prstDash val="dash"/>
          <a:round/>
          <a:headEnd type="none" w="med" len="med"/>
          <a:tailEnd type="none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rtlCol="0">
        <a:spAutoFit/>
      </a:bodyPr>
      <a:lstStyle>
        <a:defPPr>
          <a:defRPr sz="1400" dirty="0" smtClean="0">
            <a:latin typeface="微軟正黑體" panose="020B0604030504040204" pitchFamily="34" charset="-120"/>
            <a:ea typeface="微軟正黑體" panose="020B0604030504040204" pitchFamily="34" charset="-120"/>
          </a:defRPr>
        </a:defPPr>
      </a:lstStyle>
    </a:txDef>
  </a:objectDefaults>
  <a:extraClrSchemeLst>
    <a:extraClrScheme>
      <a:clrScheme name="Firm Format - Chinese (Taiwan)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7E0FB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56_Firm Format - Chinese (Taiwan)">
  <a:themeElements>
    <a:clrScheme name="Firm Format - Chinese (Taiwan)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7E0FB"/>
      </a:accent1>
      <a:accent2>
        <a:srgbClr val="333399"/>
      </a:accent2>
      <a:accent3>
        <a:srgbClr val="009999"/>
      </a:accent3>
      <a:accent4>
        <a:srgbClr val="99CC00"/>
      </a:accent4>
      <a:accent5>
        <a:srgbClr val="FF6600"/>
      </a:accent5>
      <a:accent6>
        <a:srgbClr val="808080"/>
      </a:accent6>
      <a:hlink>
        <a:srgbClr val="009999"/>
      </a:hlink>
      <a:folHlink>
        <a:srgbClr val="99CC00"/>
      </a:folHlink>
    </a:clrScheme>
    <a:fontScheme name="Firm Format - Chinese (Taiwan)">
      <a:majorFont>
        <a:latin typeface="Arial"/>
        <a:ea typeface="DFKai-SB"/>
        <a:cs typeface=""/>
      </a:majorFont>
      <a:minorFont>
        <a:latin typeface="Arial"/>
        <a:ea typeface="DFKai-SB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rtlCol="0" anchor="ctr" anchorCtr="0" compatLnSpc="1">
        <a:prstTxWarp prst="textNoShape">
          <a:avLst/>
        </a:prstTxWarp>
        <a:noAutofit/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50000"/>
          </a:spcAft>
          <a:buClr>
            <a:schemeClr val="tx2"/>
          </a:buClr>
          <a:buSzTx/>
          <a:buFontTx/>
          <a:buNone/>
          <a:tabLst/>
          <a:defRPr kumimoji="0" sz="13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华文楷体" pitchFamily="2" charset="-122"/>
            <a:cs typeface="Arial" charset="0"/>
          </a:defRPr>
        </a:defPPr>
      </a:lstStyle>
    </a:spDef>
    <a:lnDef>
      <a:spPr bwMode="auto">
        <a:solidFill>
          <a:schemeClr val="accent1"/>
        </a:solidFill>
        <a:ln w="15875" cap="flat" cmpd="sng" algn="ctr">
          <a:solidFill>
            <a:schemeClr val="bg1">
              <a:lumMod val="50000"/>
            </a:schemeClr>
          </a:solidFill>
          <a:prstDash val="solid"/>
          <a:round/>
          <a:headEnd type="oval" w="med" len="med"/>
          <a:tailEnd type="oval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Firm Format - Chinese (Taiwan)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7E0FB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57_Firm Format - Chinese (Taiwan)">
  <a:themeElements>
    <a:clrScheme name="Firm Format - Chinese (Taiwan)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7E0FB"/>
      </a:accent1>
      <a:accent2>
        <a:srgbClr val="333399"/>
      </a:accent2>
      <a:accent3>
        <a:srgbClr val="009999"/>
      </a:accent3>
      <a:accent4>
        <a:srgbClr val="99CC00"/>
      </a:accent4>
      <a:accent5>
        <a:srgbClr val="FF6600"/>
      </a:accent5>
      <a:accent6>
        <a:srgbClr val="808080"/>
      </a:accent6>
      <a:hlink>
        <a:srgbClr val="009999"/>
      </a:hlink>
      <a:folHlink>
        <a:srgbClr val="99CC00"/>
      </a:folHlink>
    </a:clrScheme>
    <a:fontScheme name="Firm Format - Chinese (Taiwan)">
      <a:majorFont>
        <a:latin typeface="Arial"/>
        <a:ea typeface="DFKai-SB"/>
        <a:cs typeface=""/>
      </a:majorFont>
      <a:minorFont>
        <a:latin typeface="Arial"/>
        <a:ea typeface="DFKai-SB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none">
        <a:spAutoFit/>
      </a:bodyPr>
      <a:lstStyle>
        <a:defPPr>
          <a:defRPr sz="1400" dirty="0">
            <a:latin typeface="微軟正黑體" panose="020B0604030504040204" pitchFamily="34" charset="-120"/>
            <a:ea typeface="微軟正黑體" panose="020B0604030504040204" pitchFamily="34" charset="-120"/>
          </a:defRPr>
        </a:defPPr>
      </a:lstStyle>
    </a:spDef>
    <a:lnDef>
      <a:spPr bwMode="auto">
        <a:solidFill>
          <a:schemeClr val="accent1"/>
        </a:solidFill>
        <a:ln w="15875" cap="flat" cmpd="sng" algn="ctr">
          <a:solidFill>
            <a:schemeClr val="bg1">
              <a:lumMod val="50000"/>
            </a:schemeClr>
          </a:solidFill>
          <a:prstDash val="solid"/>
          <a:round/>
          <a:headEnd type="oval" w="med" len="med"/>
          <a:tailEnd type="oval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rtlCol="0">
        <a:spAutoFit/>
      </a:bodyPr>
      <a:lstStyle>
        <a:defPPr>
          <a:defRPr sz="1400" dirty="0" smtClean="0">
            <a:latin typeface="微軟正黑體" panose="020B0604030504040204" pitchFamily="34" charset="-120"/>
            <a:ea typeface="微軟正黑體" panose="020B0604030504040204" pitchFamily="34" charset="-120"/>
          </a:defRPr>
        </a:defPPr>
      </a:lstStyle>
    </a:txDef>
  </a:objectDefaults>
  <a:extraClrSchemeLst>
    <a:extraClrScheme>
      <a:clrScheme name="Firm Format - Chinese (Taiwan)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7E0FB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Office 佈景主題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Office 佈景主題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itle">
      <a:majorFont>
        <a:latin typeface="微軟正黑體"/>
        <a:ea typeface="微軟正黑體"/>
        <a:cs typeface=""/>
      </a:majorFont>
      <a:minorFont>
        <a:latin typeface="Times New Roman"/>
        <a:ea typeface="微軟正黑體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9_Firm Format - Chinese (Taiwan)">
  <a:themeElements>
    <a:clrScheme name="Firm Format - Chinese (Taiwan)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7E0FB"/>
      </a:accent1>
      <a:accent2>
        <a:srgbClr val="333399"/>
      </a:accent2>
      <a:accent3>
        <a:srgbClr val="009999"/>
      </a:accent3>
      <a:accent4>
        <a:srgbClr val="99CC00"/>
      </a:accent4>
      <a:accent5>
        <a:srgbClr val="FF6600"/>
      </a:accent5>
      <a:accent6>
        <a:srgbClr val="808080"/>
      </a:accent6>
      <a:hlink>
        <a:srgbClr val="009999"/>
      </a:hlink>
      <a:folHlink>
        <a:srgbClr val="99CC00"/>
      </a:folHlink>
    </a:clrScheme>
    <a:fontScheme name="Firm Format - Chinese (Taiwan)">
      <a:majorFont>
        <a:latin typeface="Arial"/>
        <a:ea typeface="DFKai-SB"/>
        <a:cs typeface=""/>
      </a:majorFont>
      <a:minorFont>
        <a:latin typeface="Arial"/>
        <a:ea typeface="DFKai-SB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rtlCol="0" anchor="ctr" anchorCtr="0" compatLnSpc="1">
        <a:prstTxWarp prst="textNoShape">
          <a:avLst/>
        </a:prstTxWarp>
        <a:noAutofit/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50000"/>
          </a:spcAft>
          <a:buClr>
            <a:schemeClr val="tx2"/>
          </a:buClr>
          <a:buSzTx/>
          <a:buFontTx/>
          <a:buNone/>
          <a:tabLst/>
          <a:defRPr kumimoji="0" sz="13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华文楷体" pitchFamily="2" charset="-122"/>
            <a:cs typeface="Arial" charset="0"/>
          </a:defRPr>
        </a:defPPr>
      </a:lstStyle>
    </a:spDef>
    <a:lnDef>
      <a:spPr bwMode="auto">
        <a:solidFill>
          <a:schemeClr val="accent1"/>
        </a:solidFill>
        <a:ln w="15875" cap="flat" cmpd="sng" algn="ctr">
          <a:solidFill>
            <a:schemeClr val="bg1">
              <a:lumMod val="50000"/>
            </a:schemeClr>
          </a:solidFill>
          <a:prstDash val="solid"/>
          <a:round/>
          <a:headEnd type="oval" w="med" len="med"/>
          <a:tailEnd type="oval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Firm Format - Chinese (Taiwan)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7E0FB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0_Firm Format - Chinese (Taiwan)">
  <a:themeElements>
    <a:clrScheme name="Firm Format - Chinese (Taiwan)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7E0FB"/>
      </a:accent1>
      <a:accent2>
        <a:srgbClr val="333399"/>
      </a:accent2>
      <a:accent3>
        <a:srgbClr val="009999"/>
      </a:accent3>
      <a:accent4>
        <a:srgbClr val="99CC00"/>
      </a:accent4>
      <a:accent5>
        <a:srgbClr val="FF6600"/>
      </a:accent5>
      <a:accent6>
        <a:srgbClr val="808080"/>
      </a:accent6>
      <a:hlink>
        <a:srgbClr val="009999"/>
      </a:hlink>
      <a:folHlink>
        <a:srgbClr val="99CC00"/>
      </a:folHlink>
    </a:clrScheme>
    <a:fontScheme name="Firm Format - Chinese (Taiwan)">
      <a:majorFont>
        <a:latin typeface="Arial"/>
        <a:ea typeface="DFKai-SB"/>
        <a:cs typeface=""/>
      </a:majorFont>
      <a:minorFont>
        <a:latin typeface="Arial"/>
        <a:ea typeface="DFKai-SB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rtlCol="0" anchor="ctr" anchorCtr="0" compatLnSpc="1">
        <a:prstTxWarp prst="textNoShape">
          <a:avLst/>
        </a:prstTxWarp>
        <a:noAutofit/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50000"/>
          </a:spcAft>
          <a:buClr>
            <a:schemeClr val="tx2"/>
          </a:buClr>
          <a:buSzTx/>
          <a:buFontTx/>
          <a:buNone/>
          <a:tabLst/>
          <a:defRPr kumimoji="0" sz="13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华文楷体" pitchFamily="2" charset="-122"/>
            <a:cs typeface="Arial" charset="0"/>
          </a:defRPr>
        </a:defPPr>
      </a:lstStyle>
    </a:spDef>
    <a:lnDef>
      <a:spPr bwMode="auto">
        <a:solidFill>
          <a:schemeClr val="accent1"/>
        </a:solidFill>
        <a:ln w="15875" cap="flat" cmpd="sng" algn="ctr">
          <a:solidFill>
            <a:schemeClr val="bg1">
              <a:lumMod val="50000"/>
            </a:schemeClr>
          </a:solidFill>
          <a:prstDash val="solid"/>
          <a:round/>
          <a:headEnd type="oval" w="med" len="med"/>
          <a:tailEnd type="oval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Firm Format - Chinese (Taiwan)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7E0FB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1_Firm Format - Chinese (Taiwan)">
  <a:themeElements>
    <a:clrScheme name="Firm Format - Chinese (Taiwan)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7E0FB"/>
      </a:accent1>
      <a:accent2>
        <a:srgbClr val="333399"/>
      </a:accent2>
      <a:accent3>
        <a:srgbClr val="009999"/>
      </a:accent3>
      <a:accent4>
        <a:srgbClr val="99CC00"/>
      </a:accent4>
      <a:accent5>
        <a:srgbClr val="FF6600"/>
      </a:accent5>
      <a:accent6>
        <a:srgbClr val="808080"/>
      </a:accent6>
      <a:hlink>
        <a:srgbClr val="009999"/>
      </a:hlink>
      <a:folHlink>
        <a:srgbClr val="99CC00"/>
      </a:folHlink>
    </a:clrScheme>
    <a:fontScheme name="Firm Format - Chinese (Taiwan)">
      <a:majorFont>
        <a:latin typeface="Arial"/>
        <a:ea typeface="DFKai-SB"/>
        <a:cs typeface=""/>
      </a:majorFont>
      <a:minorFont>
        <a:latin typeface="Arial"/>
        <a:ea typeface="DFKai-SB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rtlCol="0" anchor="ctr" anchorCtr="0" compatLnSpc="1">
        <a:prstTxWarp prst="textNoShape">
          <a:avLst/>
        </a:prstTxWarp>
        <a:noAutofit/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50000"/>
          </a:spcAft>
          <a:buClr>
            <a:schemeClr val="tx2"/>
          </a:buClr>
          <a:buSzTx/>
          <a:buFontTx/>
          <a:buNone/>
          <a:tabLst/>
          <a:defRPr kumimoji="0" sz="13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华文楷体" pitchFamily="2" charset="-122"/>
            <a:cs typeface="Arial" charset="0"/>
          </a:defRPr>
        </a:defPPr>
      </a:lstStyle>
    </a:spDef>
    <a:lnDef>
      <a:spPr bwMode="auto">
        <a:solidFill>
          <a:schemeClr val="accent1"/>
        </a:solidFill>
        <a:ln w="15875" cap="flat" cmpd="sng" algn="ctr">
          <a:solidFill>
            <a:schemeClr val="bg1">
              <a:lumMod val="50000"/>
            </a:schemeClr>
          </a:solidFill>
          <a:prstDash val="solid"/>
          <a:round/>
          <a:headEnd type="oval" w="med" len="med"/>
          <a:tailEnd type="oval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Firm Format - Chinese (Taiwan)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7E0FB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2_Firm Format - Chinese (Taiwan)">
  <a:themeElements>
    <a:clrScheme name="Firm Format - Chinese (Taiwan)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7E0FB"/>
      </a:accent1>
      <a:accent2>
        <a:srgbClr val="333399"/>
      </a:accent2>
      <a:accent3>
        <a:srgbClr val="009999"/>
      </a:accent3>
      <a:accent4>
        <a:srgbClr val="99CC00"/>
      </a:accent4>
      <a:accent5>
        <a:srgbClr val="FF6600"/>
      </a:accent5>
      <a:accent6>
        <a:srgbClr val="808080"/>
      </a:accent6>
      <a:hlink>
        <a:srgbClr val="009999"/>
      </a:hlink>
      <a:folHlink>
        <a:srgbClr val="99CC00"/>
      </a:folHlink>
    </a:clrScheme>
    <a:fontScheme name="Firm Format - Chinese (Taiwan)">
      <a:majorFont>
        <a:latin typeface="Arial"/>
        <a:ea typeface="DFKai-SB"/>
        <a:cs typeface=""/>
      </a:majorFont>
      <a:minorFont>
        <a:latin typeface="Arial"/>
        <a:ea typeface="DFKai-SB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rtlCol="0" anchor="ctr" anchorCtr="0" compatLnSpc="1">
        <a:prstTxWarp prst="textNoShape">
          <a:avLst/>
        </a:prstTxWarp>
        <a:noAutofit/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50000"/>
          </a:spcAft>
          <a:buClr>
            <a:schemeClr val="tx2"/>
          </a:buClr>
          <a:buSzTx/>
          <a:buFontTx/>
          <a:buNone/>
          <a:tabLst/>
          <a:defRPr kumimoji="0" sz="13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华文楷体" pitchFamily="2" charset="-122"/>
            <a:cs typeface="Arial" charset="0"/>
          </a:defRPr>
        </a:defPPr>
      </a:lstStyle>
    </a:spDef>
    <a:lnDef>
      <a:spPr bwMode="auto">
        <a:solidFill>
          <a:schemeClr val="accent1"/>
        </a:solidFill>
        <a:ln w="15875" cap="flat" cmpd="sng" algn="ctr">
          <a:solidFill>
            <a:schemeClr val="bg1">
              <a:lumMod val="50000"/>
            </a:schemeClr>
          </a:solidFill>
          <a:prstDash val="solid"/>
          <a:round/>
          <a:headEnd type="oval" w="med" len="med"/>
          <a:tailEnd type="oval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Firm Format - Chinese (Taiwan)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7E0FB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50_Firm Format - Chinese (Taiwan)">
  <a:themeElements>
    <a:clrScheme name="Firm Format - Chinese (Taiwan)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7E0FB"/>
      </a:accent1>
      <a:accent2>
        <a:srgbClr val="333399"/>
      </a:accent2>
      <a:accent3>
        <a:srgbClr val="009999"/>
      </a:accent3>
      <a:accent4>
        <a:srgbClr val="99CC00"/>
      </a:accent4>
      <a:accent5>
        <a:srgbClr val="FF6600"/>
      </a:accent5>
      <a:accent6>
        <a:srgbClr val="808080"/>
      </a:accent6>
      <a:hlink>
        <a:srgbClr val="009999"/>
      </a:hlink>
      <a:folHlink>
        <a:srgbClr val="99CC00"/>
      </a:folHlink>
    </a:clrScheme>
    <a:fontScheme name="Firm Format - Chinese (Taiwan)">
      <a:majorFont>
        <a:latin typeface="Arial"/>
        <a:ea typeface="DFKai-SB"/>
        <a:cs typeface=""/>
      </a:majorFont>
      <a:minorFont>
        <a:latin typeface="Arial"/>
        <a:ea typeface="DFKai-SB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rtlCol="0" anchor="ctr" anchorCtr="0" compatLnSpc="1">
        <a:prstTxWarp prst="textNoShape">
          <a:avLst/>
        </a:prstTxWarp>
        <a:noAutofit/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50000"/>
          </a:spcAft>
          <a:buClr>
            <a:schemeClr val="tx2"/>
          </a:buClr>
          <a:buSzTx/>
          <a:buFontTx/>
          <a:buNone/>
          <a:tabLst/>
          <a:defRPr kumimoji="0" sz="13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华文楷体" pitchFamily="2" charset="-122"/>
            <a:cs typeface="Arial" charset="0"/>
          </a:defRPr>
        </a:defPPr>
      </a:lstStyle>
    </a:spDef>
    <a:lnDef>
      <a:spPr bwMode="auto">
        <a:solidFill>
          <a:schemeClr val="accent1"/>
        </a:solidFill>
        <a:ln w="15875" cap="flat" cmpd="sng" algn="ctr">
          <a:solidFill>
            <a:schemeClr val="bg1">
              <a:lumMod val="50000"/>
            </a:schemeClr>
          </a:solidFill>
          <a:prstDash val="solid"/>
          <a:round/>
          <a:headEnd type="oval" w="med" len="med"/>
          <a:tailEnd type="oval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Firm Format - Chinese (Taiwan)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7E0FB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51_Firm Format - Chinese (Taiwan)">
  <a:themeElements>
    <a:clrScheme name="Firm Format - Chinese (Taiwan)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7E0FB"/>
      </a:accent1>
      <a:accent2>
        <a:srgbClr val="333399"/>
      </a:accent2>
      <a:accent3>
        <a:srgbClr val="009999"/>
      </a:accent3>
      <a:accent4>
        <a:srgbClr val="99CC00"/>
      </a:accent4>
      <a:accent5>
        <a:srgbClr val="FF6600"/>
      </a:accent5>
      <a:accent6>
        <a:srgbClr val="808080"/>
      </a:accent6>
      <a:hlink>
        <a:srgbClr val="009999"/>
      </a:hlink>
      <a:folHlink>
        <a:srgbClr val="99CC00"/>
      </a:folHlink>
    </a:clrScheme>
    <a:fontScheme name="Firm Format - Chinese (Taiwan)">
      <a:majorFont>
        <a:latin typeface="Arial"/>
        <a:ea typeface="DFKai-SB"/>
        <a:cs typeface=""/>
      </a:majorFont>
      <a:minorFont>
        <a:latin typeface="Arial"/>
        <a:ea typeface="DFKai-SB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rtlCol="0" anchor="ctr" anchorCtr="0" compatLnSpc="1">
        <a:prstTxWarp prst="textNoShape">
          <a:avLst/>
        </a:prstTxWarp>
        <a:noAutofit/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50000"/>
          </a:spcAft>
          <a:buClr>
            <a:schemeClr val="tx2"/>
          </a:buClr>
          <a:buSzTx/>
          <a:buFontTx/>
          <a:buNone/>
          <a:tabLst/>
          <a:defRPr kumimoji="0" sz="13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华文楷体" pitchFamily="2" charset="-122"/>
            <a:cs typeface="Arial" charset="0"/>
          </a:defRPr>
        </a:defPPr>
      </a:lstStyle>
    </a:spDef>
    <a:lnDef>
      <a:spPr bwMode="auto">
        <a:solidFill>
          <a:schemeClr val="accent1"/>
        </a:solidFill>
        <a:ln w="15875" cap="flat" cmpd="sng" algn="ctr">
          <a:solidFill>
            <a:schemeClr val="bg1">
              <a:lumMod val="50000"/>
            </a:schemeClr>
          </a:solidFill>
          <a:prstDash val="solid"/>
          <a:round/>
          <a:headEnd type="oval" w="med" len="med"/>
          <a:tailEnd type="oval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Firm Format - Chinese (Taiwan)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7E0FB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52_Firm Format - Chinese (Taiwan)">
  <a:themeElements>
    <a:clrScheme name="Firm Format - Chinese (Taiwan)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7E0FB"/>
      </a:accent1>
      <a:accent2>
        <a:srgbClr val="333399"/>
      </a:accent2>
      <a:accent3>
        <a:srgbClr val="009999"/>
      </a:accent3>
      <a:accent4>
        <a:srgbClr val="99CC00"/>
      </a:accent4>
      <a:accent5>
        <a:srgbClr val="FF6600"/>
      </a:accent5>
      <a:accent6>
        <a:srgbClr val="808080"/>
      </a:accent6>
      <a:hlink>
        <a:srgbClr val="009999"/>
      </a:hlink>
      <a:folHlink>
        <a:srgbClr val="99CC00"/>
      </a:folHlink>
    </a:clrScheme>
    <a:fontScheme name="Firm Format - Chinese (Taiwan)">
      <a:majorFont>
        <a:latin typeface="Arial"/>
        <a:ea typeface="DFKai-SB"/>
        <a:cs typeface=""/>
      </a:majorFont>
      <a:minorFont>
        <a:latin typeface="Arial"/>
        <a:ea typeface="DFKai-SB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none">
        <a:spAutoFit/>
      </a:bodyPr>
      <a:lstStyle>
        <a:defPPr>
          <a:defRPr sz="1400" dirty="0">
            <a:latin typeface="微軟正黑體" panose="020B0604030504040204" pitchFamily="34" charset="-120"/>
            <a:ea typeface="微軟正黑體" panose="020B0604030504040204" pitchFamily="34" charset="-120"/>
          </a:defRPr>
        </a:defPPr>
      </a:lstStyle>
    </a:spDef>
    <a:lnDef>
      <a:spPr bwMode="auto">
        <a:solidFill>
          <a:schemeClr val="accent1"/>
        </a:solidFill>
        <a:ln w="15875" cap="flat" cmpd="sng" algn="ctr">
          <a:solidFill>
            <a:schemeClr val="bg1">
              <a:lumMod val="50000"/>
            </a:schemeClr>
          </a:solidFill>
          <a:prstDash val="solid"/>
          <a:round/>
          <a:headEnd type="oval" w="med" len="med"/>
          <a:tailEnd type="oval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rtlCol="0">
        <a:spAutoFit/>
      </a:bodyPr>
      <a:lstStyle>
        <a:defPPr>
          <a:defRPr sz="1400" dirty="0" smtClean="0">
            <a:latin typeface="微軟正黑體" panose="020B0604030504040204" pitchFamily="34" charset="-120"/>
            <a:ea typeface="微軟正黑體" panose="020B0604030504040204" pitchFamily="34" charset="-120"/>
          </a:defRPr>
        </a:defPPr>
      </a:lstStyle>
    </a:txDef>
  </a:objectDefaults>
  <a:extraClrSchemeLst>
    <a:extraClrScheme>
      <a:clrScheme name="Firm Format - Chinese (Taiwan)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7E0FB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53_Firm Format - Chinese (Taiwan)">
  <a:themeElements>
    <a:clrScheme name="Firm Format - Chinese (Taiwan)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7E0FB"/>
      </a:accent1>
      <a:accent2>
        <a:srgbClr val="333399"/>
      </a:accent2>
      <a:accent3>
        <a:srgbClr val="009999"/>
      </a:accent3>
      <a:accent4>
        <a:srgbClr val="99CC00"/>
      </a:accent4>
      <a:accent5>
        <a:srgbClr val="FF6600"/>
      </a:accent5>
      <a:accent6>
        <a:srgbClr val="808080"/>
      </a:accent6>
      <a:hlink>
        <a:srgbClr val="009999"/>
      </a:hlink>
      <a:folHlink>
        <a:srgbClr val="99CC00"/>
      </a:folHlink>
    </a:clrScheme>
    <a:fontScheme name="Firm Format - Chinese (Taiwan)">
      <a:majorFont>
        <a:latin typeface="Arial"/>
        <a:ea typeface="DFKai-SB"/>
        <a:cs typeface=""/>
      </a:majorFont>
      <a:minorFont>
        <a:latin typeface="Arial"/>
        <a:ea typeface="DFKai-SB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rtlCol="0" anchor="ctr" anchorCtr="0" compatLnSpc="1">
        <a:prstTxWarp prst="textNoShape">
          <a:avLst/>
        </a:prstTxWarp>
        <a:noAutofit/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50000"/>
          </a:spcAft>
          <a:buClr>
            <a:schemeClr val="tx2"/>
          </a:buClr>
          <a:buSzTx/>
          <a:buFontTx/>
          <a:buNone/>
          <a:tabLst/>
          <a:defRPr kumimoji="0" sz="13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华文楷体" pitchFamily="2" charset="-122"/>
            <a:cs typeface="Arial" charset="0"/>
          </a:defRPr>
        </a:defPPr>
      </a:lstStyle>
    </a:spDef>
    <a:lnDef>
      <a:spPr bwMode="auto">
        <a:solidFill>
          <a:schemeClr val="accent1"/>
        </a:solidFill>
        <a:ln w="15875" cap="flat" cmpd="sng" algn="ctr">
          <a:solidFill>
            <a:schemeClr val="bg1">
              <a:lumMod val="50000"/>
            </a:schemeClr>
          </a:solidFill>
          <a:prstDash val="solid"/>
          <a:round/>
          <a:headEnd type="oval" w="med" len="med"/>
          <a:tailEnd type="oval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Firm Format - Chinese (Taiwan)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7E0FB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171</TotalTime>
  <Words>136</Words>
  <Application>Microsoft Office PowerPoint</Application>
  <PresentationFormat>如螢幕大小 (4:3)</PresentationFormat>
  <Paragraphs>56</Paragraphs>
  <Slides>7</Slides>
  <Notes>0</Notes>
  <HiddenSlides>0</HiddenSlides>
  <MMClips>0</MMClips>
  <ScaleCrop>false</ScaleCrop>
  <HeadingPairs>
    <vt:vector size="8" baseType="variant">
      <vt:variant>
        <vt:lpstr>使用字型</vt:lpstr>
      </vt:variant>
      <vt:variant>
        <vt:i4>5</vt:i4>
      </vt:variant>
      <vt:variant>
        <vt:lpstr>佈景主題</vt:lpstr>
      </vt:variant>
      <vt:variant>
        <vt:i4>14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7</vt:i4>
      </vt:variant>
    </vt:vector>
  </HeadingPairs>
  <TitlesOfParts>
    <vt:vector size="27" baseType="lpstr">
      <vt:lpstr>微軟正黑體</vt:lpstr>
      <vt:lpstr>Arial</vt:lpstr>
      <vt:lpstr>Calibri</vt:lpstr>
      <vt:lpstr>Times New Roman</vt:lpstr>
      <vt:lpstr>Wingdings</vt:lpstr>
      <vt:lpstr>49_Firm Format - Chinese (Taiwan)</vt:lpstr>
      <vt:lpstr>19_Firm Format - Chinese (Taiwan)</vt:lpstr>
      <vt:lpstr>20_Firm Format - Chinese (Taiwan)</vt:lpstr>
      <vt:lpstr>21_Firm Format - Chinese (Taiwan)</vt:lpstr>
      <vt:lpstr>22_Firm Format - Chinese (Taiwan)</vt:lpstr>
      <vt:lpstr>50_Firm Format - Chinese (Taiwan)</vt:lpstr>
      <vt:lpstr>51_Firm Format - Chinese (Taiwan)</vt:lpstr>
      <vt:lpstr>52_Firm Format - Chinese (Taiwan)</vt:lpstr>
      <vt:lpstr>53_Firm Format - Chinese (Taiwan)</vt:lpstr>
      <vt:lpstr>23_Firm Format - Chinese (Taiwan)</vt:lpstr>
      <vt:lpstr>Default</vt:lpstr>
      <vt:lpstr>54_Firm Format - Chinese (Taiwan)</vt:lpstr>
      <vt:lpstr>56_Firm Format - Chinese (Taiwan)</vt:lpstr>
      <vt:lpstr>57_Firm Format - Chinese (Taiwan)</vt:lpstr>
      <vt:lpstr>think-cell Slide</vt:lpstr>
      <vt:lpstr>PowerPoint 簡報</vt:lpstr>
      <vt:lpstr>關於我</vt:lpstr>
      <vt:lpstr>關於我</vt:lpstr>
      <vt:lpstr>專題作品</vt:lpstr>
      <vt:lpstr>專題作品</vt:lpstr>
      <vt:lpstr>專題作品</vt:lpstr>
      <vt:lpstr>未來目標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簡報</dc:title>
  <dc:creator>謝啟煒</dc:creator>
  <cp:lastModifiedBy>Kevin</cp:lastModifiedBy>
  <cp:revision>1115</cp:revision>
  <cp:lastPrinted>2018-09-03T06:45:59Z</cp:lastPrinted>
  <dcterms:created xsi:type="dcterms:W3CDTF">2017-11-06T01:31:56Z</dcterms:created>
  <dcterms:modified xsi:type="dcterms:W3CDTF">2023-12-19T14:47:17Z</dcterms:modified>
</cp:coreProperties>
</file>